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0.xml" ContentType="application/vnd.openxmlformats-officedocument.presentationml.notesSlide+xml"/>
  <Override PartName="/ppt/tags/tag55.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7"/>
  </p:notesMasterIdLst>
  <p:sldIdLst>
    <p:sldId id="881" r:id="rId5"/>
    <p:sldId id="2578" r:id="rId6"/>
    <p:sldId id="2699" r:id="rId7"/>
    <p:sldId id="2707" r:id="rId8"/>
    <p:sldId id="2708" r:id="rId9"/>
    <p:sldId id="2709" r:id="rId10"/>
    <p:sldId id="2695" r:id="rId11"/>
    <p:sldId id="2589" r:id="rId12"/>
    <p:sldId id="2615" r:id="rId13"/>
    <p:sldId id="2614" r:id="rId14"/>
    <p:sldId id="2676" r:id="rId15"/>
    <p:sldId id="2661" r:id="rId16"/>
    <p:sldId id="2662" r:id="rId17"/>
    <p:sldId id="2663" r:id="rId18"/>
    <p:sldId id="2655" r:id="rId19"/>
    <p:sldId id="2639" r:id="rId20"/>
    <p:sldId id="2674" r:id="rId21"/>
    <p:sldId id="2673" r:id="rId22"/>
    <p:sldId id="2657" r:id="rId23"/>
    <p:sldId id="2671" r:id="rId24"/>
    <p:sldId id="2658" r:id="rId25"/>
    <p:sldId id="2659" r:id="rId26"/>
  </p:sldIdLst>
  <p:sldSz cx="12192000" cy="6858000"/>
  <p:notesSz cx="6858000" cy="9144000"/>
  <p:custDataLst>
    <p:tags r:id="rId28"/>
  </p:custDataLst>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2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dant Gupta" initials="VG" lastIdx="15" clrIdx="0">
    <p:extLst>
      <p:ext uri="{19B8F6BF-5375-455C-9EA6-DF929625EA0E}">
        <p15:presenceInfo xmlns:p15="http://schemas.microsoft.com/office/powerpoint/2012/main" userId="S::vgupta@gulfresearcher.com::c35c8c05-3899-4242-b9bc-6ff3daef14b1" providerId="AD"/>
      </p:ext>
    </p:extLst>
  </p:cmAuthor>
  <p:cmAuthor id="2" name="Rajat Ahlawat" initials="RA" lastIdx="6" clrIdx="1">
    <p:extLst>
      <p:ext uri="{19B8F6BF-5375-455C-9EA6-DF929625EA0E}">
        <p15:presenceInfo xmlns:p15="http://schemas.microsoft.com/office/powerpoint/2012/main" userId="S::rahlawat@gulfresearcher.com::0999e930-429e-4784-8ff7-7ae8d3f5eceb" providerId="AD"/>
      </p:ext>
    </p:extLst>
  </p:cmAuthor>
  <p:cmAuthor id="3" name="Ahmed" initials="A" lastIdx="19" clrIdx="2">
    <p:extLst>
      <p:ext uri="{19B8F6BF-5375-455C-9EA6-DF929625EA0E}">
        <p15:presenceInfo xmlns:p15="http://schemas.microsoft.com/office/powerpoint/2012/main" userId="8ee5f004f4d18544" providerId="Windows Live"/>
      </p:ext>
    </p:extLst>
  </p:cmAuthor>
  <p:cmAuthor id="4" name="Nusaibah AlKooheji" initials="NA" lastIdx="1" clrIdx="3">
    <p:extLst>
      <p:ext uri="{19B8F6BF-5375-455C-9EA6-DF929625EA0E}">
        <p15:presenceInfo xmlns:p15="http://schemas.microsoft.com/office/powerpoint/2012/main" userId="S::nalkooheji@gulfresearcher.com::60b1ba1e-4bea-453a-b40e-3a0a204f03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C7F4"/>
    <a:srgbClr val="0C72BA"/>
    <a:srgbClr val="652F8F"/>
    <a:srgbClr val="FFFFFF"/>
    <a:srgbClr val="282560"/>
    <a:srgbClr val="EAEAEA"/>
    <a:srgbClr val="7FD6F7"/>
    <a:srgbClr val="F2F2F2"/>
    <a:srgbClr val="ECECF8"/>
    <a:srgbClr val="A1E3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3"/>
    <p:restoredTop sz="82111" autoAdjust="0"/>
  </p:normalViewPr>
  <p:slideViewPr>
    <p:cSldViewPr snapToGrid="0" showGuides="1">
      <p:cViewPr varScale="1">
        <p:scale>
          <a:sx n="94" d="100"/>
          <a:sy n="94" d="100"/>
        </p:scale>
        <p:origin x="1224" y="184"/>
      </p:cViewPr>
      <p:guideLst>
        <p:guide orient="horz" pos="242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5F0C13-35A2-4A8E-86E7-BA71D5B27431}" type="datetimeFigureOut">
              <a:rPr lang="en-US" smtClean="0"/>
              <a:t>3/14/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B1CD65-6C09-4534-ACE6-E34B39CD73A8}" type="slidenum">
              <a:rPr lang="en-US" smtClean="0"/>
              <a:t>‹#›</a:t>
            </a:fld>
            <a:endParaRPr lang="en-US"/>
          </a:p>
        </p:txBody>
      </p:sp>
    </p:spTree>
    <p:extLst>
      <p:ext uri="{BB962C8B-B14F-4D97-AF65-F5344CB8AC3E}">
        <p14:creationId xmlns:p14="http://schemas.microsoft.com/office/powerpoint/2010/main" val="1155861138"/>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urin.org.au/about-aurin/what-we-do/</a:t>
            </a:r>
          </a:p>
        </p:txBody>
      </p:sp>
      <p:sp>
        <p:nvSpPr>
          <p:cNvPr id="4" name="Slide Number Placeholder 3"/>
          <p:cNvSpPr>
            <a:spLocks noGrp="1"/>
          </p:cNvSpPr>
          <p:nvPr>
            <p:ph type="sldNum" sz="quarter" idx="5"/>
          </p:nvPr>
        </p:nvSpPr>
        <p:spPr/>
        <p:txBody>
          <a:bodyPr/>
          <a:lstStyle/>
          <a:p>
            <a:fld id="{2A7E7520-E494-4B46-9D57-A6F5F2FC93E8}" type="slidenum">
              <a:rPr lang="en-US" smtClean="0"/>
              <a:t>2</a:t>
            </a:fld>
            <a:endParaRPr lang="en-US"/>
          </a:p>
        </p:txBody>
      </p:sp>
    </p:spTree>
    <p:extLst>
      <p:ext uri="{BB962C8B-B14F-4D97-AF65-F5344CB8AC3E}">
        <p14:creationId xmlns:p14="http://schemas.microsoft.com/office/powerpoint/2010/main" val="38047869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www.mssanz.org.au/modsim2011/H4/tomko.pdf</a:t>
            </a:r>
          </a:p>
          <a:p>
            <a:pPr rtl="0"/>
            <a:r>
              <a:rPr lang="en-US"/>
              <a:t>https://ieeexplore.ieee.org/document/8968860</a:t>
            </a:r>
          </a:p>
        </p:txBody>
      </p:sp>
      <p:sp>
        <p:nvSpPr>
          <p:cNvPr id="4" name="Slide Number Placeholder 3"/>
          <p:cNvSpPr>
            <a:spLocks noGrp="1"/>
          </p:cNvSpPr>
          <p:nvPr>
            <p:ph type="sldNum" sz="quarter" idx="5"/>
          </p:nvPr>
        </p:nvSpPr>
        <p:spPr/>
        <p:txBody>
          <a:bodyPr/>
          <a:lstStyle/>
          <a:p>
            <a:fld id="{241FEC92-B76A-4406-8C11-5D13CAFEB75E}" type="slidenum">
              <a:rPr lang="en-US" smtClean="0"/>
              <a:t>11</a:t>
            </a:fld>
            <a:endParaRPr lang="en-US"/>
          </a:p>
        </p:txBody>
      </p:sp>
    </p:spTree>
    <p:extLst>
      <p:ext uri="{BB962C8B-B14F-4D97-AF65-F5344CB8AC3E}">
        <p14:creationId xmlns:p14="http://schemas.microsoft.com/office/powerpoint/2010/main" val="1942927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www.mssanz.org.au/modsim2011/H4/tomko.pdf</a:t>
            </a:r>
          </a:p>
          <a:p>
            <a:pPr rtl="0"/>
            <a:r>
              <a:rPr lang="en-US"/>
              <a:t>https://ieeexplore.ieee.org/document/8968860</a:t>
            </a:r>
          </a:p>
        </p:txBody>
      </p:sp>
      <p:sp>
        <p:nvSpPr>
          <p:cNvPr id="4" name="Slide Number Placeholder 3"/>
          <p:cNvSpPr>
            <a:spLocks noGrp="1"/>
          </p:cNvSpPr>
          <p:nvPr>
            <p:ph type="sldNum" sz="quarter" idx="5"/>
          </p:nvPr>
        </p:nvSpPr>
        <p:spPr/>
        <p:txBody>
          <a:bodyPr/>
          <a:lstStyle/>
          <a:p>
            <a:fld id="{241FEC92-B76A-4406-8C11-5D13CAFEB75E}" type="slidenum">
              <a:rPr lang="en-US" smtClean="0"/>
              <a:t>12</a:t>
            </a:fld>
            <a:endParaRPr lang="en-US"/>
          </a:p>
        </p:txBody>
      </p:sp>
    </p:spTree>
    <p:extLst>
      <p:ext uri="{BB962C8B-B14F-4D97-AF65-F5344CB8AC3E}">
        <p14:creationId xmlns:p14="http://schemas.microsoft.com/office/powerpoint/2010/main" val="1445268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www.mssanz.org.au/modsim2011/H4/tomko.pdf</a:t>
            </a:r>
          </a:p>
          <a:p>
            <a:pPr rtl="0"/>
            <a:r>
              <a:rPr lang="en-US"/>
              <a:t>https://ieeexplore.ieee.org/document/8968860</a:t>
            </a:r>
          </a:p>
        </p:txBody>
      </p:sp>
      <p:sp>
        <p:nvSpPr>
          <p:cNvPr id="4" name="Slide Number Placeholder 3"/>
          <p:cNvSpPr>
            <a:spLocks noGrp="1"/>
          </p:cNvSpPr>
          <p:nvPr>
            <p:ph type="sldNum" sz="quarter" idx="5"/>
          </p:nvPr>
        </p:nvSpPr>
        <p:spPr/>
        <p:txBody>
          <a:bodyPr/>
          <a:lstStyle/>
          <a:p>
            <a:fld id="{241FEC92-B76A-4406-8C11-5D13CAFEB75E}" type="slidenum">
              <a:rPr lang="en-US" smtClean="0"/>
              <a:t>13</a:t>
            </a:fld>
            <a:endParaRPr lang="en-US"/>
          </a:p>
        </p:txBody>
      </p:sp>
    </p:spTree>
    <p:extLst>
      <p:ext uri="{BB962C8B-B14F-4D97-AF65-F5344CB8AC3E}">
        <p14:creationId xmlns:p14="http://schemas.microsoft.com/office/powerpoint/2010/main" val="3163886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www.mssanz.org.au/modsim2011/H4/tomko.pdf</a:t>
            </a:r>
          </a:p>
          <a:p>
            <a:pPr rtl="0"/>
            <a:r>
              <a:rPr lang="en-US"/>
              <a:t>https://ieeexplore.ieee.org/document/8968860</a:t>
            </a:r>
          </a:p>
        </p:txBody>
      </p:sp>
      <p:sp>
        <p:nvSpPr>
          <p:cNvPr id="4" name="Slide Number Placeholder 3"/>
          <p:cNvSpPr>
            <a:spLocks noGrp="1"/>
          </p:cNvSpPr>
          <p:nvPr>
            <p:ph type="sldNum" sz="quarter" idx="5"/>
          </p:nvPr>
        </p:nvSpPr>
        <p:spPr/>
        <p:txBody>
          <a:bodyPr/>
          <a:lstStyle/>
          <a:p>
            <a:fld id="{241FEC92-B76A-4406-8C11-5D13CAFEB75E}" type="slidenum">
              <a:rPr lang="en-US" smtClean="0"/>
              <a:t>14</a:t>
            </a:fld>
            <a:endParaRPr lang="en-US"/>
          </a:p>
        </p:txBody>
      </p:sp>
    </p:spTree>
    <p:extLst>
      <p:ext uri="{BB962C8B-B14F-4D97-AF65-F5344CB8AC3E}">
        <p14:creationId xmlns:p14="http://schemas.microsoft.com/office/powerpoint/2010/main" val="2773634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ieeexplore.ieee.org/document/8968860</a:t>
            </a:r>
          </a:p>
        </p:txBody>
      </p:sp>
      <p:sp>
        <p:nvSpPr>
          <p:cNvPr id="4" name="Slide Number Placeholder 3"/>
          <p:cNvSpPr>
            <a:spLocks noGrp="1"/>
          </p:cNvSpPr>
          <p:nvPr>
            <p:ph type="sldNum" sz="quarter" idx="5"/>
          </p:nvPr>
        </p:nvSpPr>
        <p:spPr/>
        <p:txBody>
          <a:bodyPr/>
          <a:lstStyle/>
          <a:p>
            <a:fld id="{241FEC92-B76A-4406-8C11-5D13CAFEB75E}" type="slidenum">
              <a:rPr lang="en-US" smtClean="0"/>
              <a:t>15</a:t>
            </a:fld>
            <a:endParaRPr lang="en-US"/>
          </a:p>
        </p:txBody>
      </p:sp>
    </p:spTree>
    <p:extLst>
      <p:ext uri="{BB962C8B-B14F-4D97-AF65-F5344CB8AC3E}">
        <p14:creationId xmlns:p14="http://schemas.microsoft.com/office/powerpoint/2010/main" val="1079103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wcl.cs.rpi.edu/pilots/library/papers/ACM-SIGSPATIAL-GIS02/cleanpdfs/p0086_Tomko.pdf</a:t>
            </a:r>
          </a:p>
          <a:p>
            <a:r>
              <a:rPr lang="en-US"/>
              <a:t>https://apo.org.au/sites/default/files/resource-files/2014-05/apo-nid75691.pdf</a:t>
            </a:r>
          </a:p>
          <a:p>
            <a:r>
              <a:rPr lang="en-US"/>
              <a:t>https://ieeexplore.ieee.org/document/9411522</a:t>
            </a:r>
          </a:p>
        </p:txBody>
      </p:sp>
      <p:sp>
        <p:nvSpPr>
          <p:cNvPr id="4" name="Slide Number Placeholder 3"/>
          <p:cNvSpPr>
            <a:spLocks noGrp="1"/>
          </p:cNvSpPr>
          <p:nvPr>
            <p:ph type="sldNum" sz="quarter" idx="5"/>
          </p:nvPr>
        </p:nvSpPr>
        <p:spPr/>
        <p:txBody>
          <a:bodyPr/>
          <a:lstStyle/>
          <a:p>
            <a:fld id="{241FEC92-B76A-4406-8C11-5D13CAFEB75E}" type="slidenum">
              <a:rPr lang="en-US" smtClean="0"/>
              <a:t>16</a:t>
            </a:fld>
            <a:endParaRPr lang="en-US"/>
          </a:p>
        </p:txBody>
      </p:sp>
    </p:spTree>
    <p:extLst>
      <p:ext uri="{BB962C8B-B14F-4D97-AF65-F5344CB8AC3E}">
        <p14:creationId xmlns:p14="http://schemas.microsoft.com/office/powerpoint/2010/main" val="2327775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urin.org.au/archived-pages/lens-sub-projects/integrated-design-infrastructure-for-australian-cities/</a:t>
            </a:r>
          </a:p>
        </p:txBody>
      </p:sp>
      <p:sp>
        <p:nvSpPr>
          <p:cNvPr id="4" name="Slide Number Placeholder 3"/>
          <p:cNvSpPr>
            <a:spLocks noGrp="1"/>
          </p:cNvSpPr>
          <p:nvPr>
            <p:ph type="sldNum" sz="quarter" idx="5"/>
          </p:nvPr>
        </p:nvSpPr>
        <p:spPr/>
        <p:txBody>
          <a:bodyPr/>
          <a:lstStyle/>
          <a:p>
            <a:fld id="{241FEC92-B76A-4406-8C11-5D13CAFEB75E}" type="slidenum">
              <a:rPr lang="en-US" smtClean="0"/>
              <a:t>17</a:t>
            </a:fld>
            <a:endParaRPr lang="en-US"/>
          </a:p>
        </p:txBody>
      </p:sp>
    </p:spTree>
    <p:extLst>
      <p:ext uri="{BB962C8B-B14F-4D97-AF65-F5344CB8AC3E}">
        <p14:creationId xmlns:p14="http://schemas.microsoft.com/office/powerpoint/2010/main" val="4499135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urin.org.au/archived-pages/lens-sub-projects/integrated-design-infrastructure-for-australian-cities/</a:t>
            </a:r>
          </a:p>
        </p:txBody>
      </p:sp>
      <p:sp>
        <p:nvSpPr>
          <p:cNvPr id="4" name="Slide Number Placeholder 3"/>
          <p:cNvSpPr>
            <a:spLocks noGrp="1"/>
          </p:cNvSpPr>
          <p:nvPr>
            <p:ph type="sldNum" sz="quarter" idx="5"/>
          </p:nvPr>
        </p:nvSpPr>
        <p:spPr/>
        <p:txBody>
          <a:bodyPr/>
          <a:lstStyle/>
          <a:p>
            <a:fld id="{241FEC92-B76A-4406-8C11-5D13CAFEB75E}" type="slidenum">
              <a:rPr lang="en-US" smtClean="0"/>
              <a:t>18</a:t>
            </a:fld>
            <a:endParaRPr lang="en-US"/>
          </a:p>
        </p:txBody>
      </p:sp>
    </p:spTree>
    <p:extLst>
      <p:ext uri="{BB962C8B-B14F-4D97-AF65-F5344CB8AC3E}">
        <p14:creationId xmlns:p14="http://schemas.microsoft.com/office/powerpoint/2010/main" val="7496774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loudstor.aarnet.edu.au/plus/s/AngSkZ8giWnnaci</a:t>
            </a:r>
          </a:p>
        </p:txBody>
      </p:sp>
      <p:sp>
        <p:nvSpPr>
          <p:cNvPr id="4" name="Slide Number Placeholder 3"/>
          <p:cNvSpPr>
            <a:spLocks noGrp="1"/>
          </p:cNvSpPr>
          <p:nvPr>
            <p:ph type="sldNum" sz="quarter" idx="5"/>
          </p:nvPr>
        </p:nvSpPr>
        <p:spPr/>
        <p:txBody>
          <a:bodyPr/>
          <a:lstStyle/>
          <a:p>
            <a:fld id="{241FEC92-B76A-4406-8C11-5D13CAFEB75E}" type="slidenum">
              <a:rPr lang="en-US" smtClean="0"/>
              <a:t>19</a:t>
            </a:fld>
            <a:endParaRPr lang="en-US"/>
          </a:p>
        </p:txBody>
      </p:sp>
    </p:spTree>
    <p:extLst>
      <p:ext uri="{BB962C8B-B14F-4D97-AF65-F5344CB8AC3E}">
        <p14:creationId xmlns:p14="http://schemas.microsoft.com/office/powerpoint/2010/main" val="3834276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loudstor.aarnet.edu.au/plus/s/AngSkZ8giWnnaci</a:t>
            </a:r>
          </a:p>
        </p:txBody>
      </p:sp>
      <p:sp>
        <p:nvSpPr>
          <p:cNvPr id="4" name="Slide Number Placeholder 3"/>
          <p:cNvSpPr>
            <a:spLocks noGrp="1"/>
          </p:cNvSpPr>
          <p:nvPr>
            <p:ph type="sldNum" sz="quarter" idx="5"/>
          </p:nvPr>
        </p:nvSpPr>
        <p:spPr/>
        <p:txBody>
          <a:bodyPr/>
          <a:lstStyle/>
          <a:p>
            <a:fld id="{241FEC92-B76A-4406-8C11-5D13CAFEB75E}" type="slidenum">
              <a:rPr lang="en-US" smtClean="0"/>
              <a:t>20</a:t>
            </a:fld>
            <a:endParaRPr lang="en-US"/>
          </a:p>
        </p:txBody>
      </p:sp>
    </p:spTree>
    <p:extLst>
      <p:ext uri="{BB962C8B-B14F-4D97-AF65-F5344CB8AC3E}">
        <p14:creationId xmlns:p14="http://schemas.microsoft.com/office/powerpoint/2010/main" val="2221530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unsworks.unsw.edu.au/fapi/datastream/unsworks:35189/bina8cd5f89-3685-4c1b-ab66-bc7717b90d8a?view=true</a:t>
            </a:r>
          </a:p>
          <a:p>
            <a:r>
              <a:rPr lang="en-US"/>
              <a:t>https://eresearchau.files.wordpress.com/2012/11/02_richard_sinnott.pdf</a:t>
            </a:r>
          </a:p>
        </p:txBody>
      </p:sp>
      <p:sp>
        <p:nvSpPr>
          <p:cNvPr id="4" name="Slide Number Placeholder 3"/>
          <p:cNvSpPr>
            <a:spLocks noGrp="1"/>
          </p:cNvSpPr>
          <p:nvPr>
            <p:ph type="sldNum" sz="quarter" idx="5"/>
          </p:nvPr>
        </p:nvSpPr>
        <p:spPr/>
        <p:txBody>
          <a:bodyPr/>
          <a:lstStyle/>
          <a:p>
            <a:fld id="{2A7E7520-E494-4B46-9D57-A6F5F2FC93E8}" type="slidenum">
              <a:rPr lang="en-US" smtClean="0"/>
              <a:t>3</a:t>
            </a:fld>
            <a:endParaRPr lang="en-US"/>
          </a:p>
        </p:txBody>
      </p:sp>
    </p:spTree>
    <p:extLst>
      <p:ext uri="{BB962C8B-B14F-4D97-AF65-F5344CB8AC3E}">
        <p14:creationId xmlns:p14="http://schemas.microsoft.com/office/powerpoint/2010/main" val="28315617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www.spatialsource.com.au/latest-news/aurin-puts-research-insights-on-the-map</a:t>
            </a:r>
          </a:p>
          <a:p>
            <a:pPr rtl="0"/>
            <a:r>
              <a:rPr lang="en-US"/>
              <a:t>https://aurin.org.au/resources/information-for-government/</a:t>
            </a:r>
          </a:p>
          <a:p>
            <a:pPr rtl="0"/>
            <a:r>
              <a:rPr lang="en-US"/>
              <a:t>https://aurin.org.au/better-cities-through-data-backed-infrastructure-planning-new-industry-research-alliance-announced/</a:t>
            </a:r>
          </a:p>
        </p:txBody>
      </p:sp>
      <p:sp>
        <p:nvSpPr>
          <p:cNvPr id="4" name="Slide Number Placeholder 3"/>
          <p:cNvSpPr>
            <a:spLocks noGrp="1"/>
          </p:cNvSpPr>
          <p:nvPr>
            <p:ph type="sldNum" sz="quarter" idx="5"/>
          </p:nvPr>
        </p:nvSpPr>
        <p:spPr/>
        <p:txBody>
          <a:bodyPr/>
          <a:lstStyle/>
          <a:p>
            <a:fld id="{241FEC92-B76A-4406-8C11-5D13CAFEB75E}" type="slidenum">
              <a:rPr lang="en-US" smtClean="0"/>
              <a:t>21</a:t>
            </a:fld>
            <a:endParaRPr lang="en-US"/>
          </a:p>
        </p:txBody>
      </p:sp>
    </p:spTree>
    <p:extLst>
      <p:ext uri="{BB962C8B-B14F-4D97-AF65-F5344CB8AC3E}">
        <p14:creationId xmlns:p14="http://schemas.microsoft.com/office/powerpoint/2010/main" val="40969984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urin.org.au/resources/partnering-with-aurin/</a:t>
            </a:r>
          </a:p>
        </p:txBody>
      </p:sp>
      <p:sp>
        <p:nvSpPr>
          <p:cNvPr id="4" name="Slide Number Placeholder 3"/>
          <p:cNvSpPr>
            <a:spLocks noGrp="1"/>
          </p:cNvSpPr>
          <p:nvPr>
            <p:ph type="sldNum" sz="quarter" idx="5"/>
          </p:nvPr>
        </p:nvSpPr>
        <p:spPr/>
        <p:txBody>
          <a:bodyPr/>
          <a:lstStyle/>
          <a:p>
            <a:fld id="{72B1CD65-6C09-4534-ACE6-E34B39CD73A8}" type="slidenum">
              <a:rPr lang="en-US" smtClean="0"/>
              <a:t>22</a:t>
            </a:fld>
            <a:endParaRPr lang="en-US"/>
          </a:p>
        </p:txBody>
      </p:sp>
    </p:spTree>
    <p:extLst>
      <p:ext uri="{BB962C8B-B14F-4D97-AF65-F5344CB8AC3E}">
        <p14:creationId xmlns:p14="http://schemas.microsoft.com/office/powerpoint/2010/main" val="3253573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ttps://aurin.org.au/resources/aurin-apis/</a:t>
            </a:r>
          </a:p>
          <a:p>
            <a:r>
              <a:rPr lang="en-US"/>
              <a:t>http://unsworks.unsw.edu.au/fapi/datastream/unsworks:35189/bina8cd5f89-3685-4c1b-ab66-bc7717b90d8a?view=true</a:t>
            </a:r>
          </a:p>
          <a:p>
            <a:r>
              <a:rPr lang="en-US"/>
              <a:t>https://researchdata.edu.au/contributors/australian-urban-research-infrastructure-network-aurin</a:t>
            </a:r>
          </a:p>
          <a:p>
            <a:r>
              <a:rPr lang="en-US"/>
              <a:t>https://data.aurin.org.au/</a:t>
            </a:r>
          </a:p>
        </p:txBody>
      </p:sp>
      <p:sp>
        <p:nvSpPr>
          <p:cNvPr id="4" name="Slide Number Placeholder 3"/>
          <p:cNvSpPr>
            <a:spLocks noGrp="1"/>
          </p:cNvSpPr>
          <p:nvPr>
            <p:ph type="sldNum" sz="quarter" idx="5"/>
          </p:nvPr>
        </p:nvSpPr>
        <p:spPr/>
        <p:txBody>
          <a:bodyPr/>
          <a:lstStyle/>
          <a:p>
            <a:fld id="{241FEC92-B76A-4406-8C11-5D13CAFEB75E}" type="slidenum">
              <a:rPr lang="en-US" smtClean="0"/>
              <a:t>4</a:t>
            </a:fld>
            <a:endParaRPr lang="en-US"/>
          </a:p>
        </p:txBody>
      </p:sp>
    </p:spTree>
    <p:extLst>
      <p:ext uri="{BB962C8B-B14F-4D97-AF65-F5344CB8AC3E}">
        <p14:creationId xmlns:p14="http://schemas.microsoft.com/office/powerpoint/2010/main" val="4151253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urin.org.au/resources/aurin-apis/</a:t>
            </a:r>
          </a:p>
          <a:p>
            <a:r>
              <a:rPr lang="en-US"/>
              <a:t>https://www.researchgate.net/publication/274065688_Realising_the_Data_Hubs_Concept_for_Urban_Research_in_Australia</a:t>
            </a:r>
          </a:p>
          <a:p>
            <a:r>
              <a:rPr lang="en-US"/>
              <a:t>https://www.researchgate.net/publication/256065560_Tools_and_Processes_to_Support_the_Development_of_a_National_Platform_for_Urban_Research_Lessons_Being_Learnt_from_the_AURIN_Project</a:t>
            </a:r>
          </a:p>
        </p:txBody>
      </p:sp>
      <p:sp>
        <p:nvSpPr>
          <p:cNvPr id="4" name="Slide Number Placeholder 3"/>
          <p:cNvSpPr>
            <a:spLocks noGrp="1"/>
          </p:cNvSpPr>
          <p:nvPr>
            <p:ph type="sldNum" sz="quarter" idx="5"/>
          </p:nvPr>
        </p:nvSpPr>
        <p:spPr/>
        <p:txBody>
          <a:bodyPr/>
          <a:lstStyle/>
          <a:p>
            <a:fld id="{241FEC92-B76A-4406-8C11-5D13CAFEB75E}" type="slidenum">
              <a:rPr lang="en-US" smtClean="0"/>
              <a:t>5</a:t>
            </a:fld>
            <a:endParaRPr lang="en-US"/>
          </a:p>
        </p:txBody>
      </p:sp>
    </p:spTree>
    <p:extLst>
      <p:ext uri="{BB962C8B-B14F-4D97-AF65-F5344CB8AC3E}">
        <p14:creationId xmlns:p14="http://schemas.microsoft.com/office/powerpoint/2010/main" val="1710303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aurin.org.au/resources/aurin-apis/</a:t>
            </a:r>
          </a:p>
          <a:p>
            <a:r>
              <a:rPr lang="en-US"/>
              <a:t>https://www.researchgate.net/publication/274065688_Realising_the_Data_Hubs_Concept_for_Urban_Research_in_Australia</a:t>
            </a:r>
          </a:p>
        </p:txBody>
      </p:sp>
      <p:sp>
        <p:nvSpPr>
          <p:cNvPr id="4" name="Slide Number Placeholder 3"/>
          <p:cNvSpPr>
            <a:spLocks noGrp="1"/>
          </p:cNvSpPr>
          <p:nvPr>
            <p:ph type="sldNum" sz="quarter" idx="5"/>
          </p:nvPr>
        </p:nvSpPr>
        <p:spPr/>
        <p:txBody>
          <a:bodyPr/>
          <a:lstStyle/>
          <a:p>
            <a:fld id="{241FEC92-B76A-4406-8C11-5D13CAFEB75E}" type="slidenum">
              <a:rPr lang="en-US" smtClean="0"/>
              <a:t>6</a:t>
            </a:fld>
            <a:endParaRPr lang="en-US"/>
          </a:p>
        </p:txBody>
      </p:sp>
    </p:spTree>
    <p:extLst>
      <p:ext uri="{BB962C8B-B14F-4D97-AF65-F5344CB8AC3E}">
        <p14:creationId xmlns:p14="http://schemas.microsoft.com/office/powerpoint/2010/main" val="2107015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eresearchau.files.wordpress.com/2012/11/02_richard_sinnott.pdf</a:t>
            </a:r>
          </a:p>
        </p:txBody>
      </p:sp>
      <p:sp>
        <p:nvSpPr>
          <p:cNvPr id="4" name="Slide Number Placeholder 3"/>
          <p:cNvSpPr>
            <a:spLocks noGrp="1"/>
          </p:cNvSpPr>
          <p:nvPr>
            <p:ph type="sldNum" sz="quarter" idx="5"/>
          </p:nvPr>
        </p:nvSpPr>
        <p:spPr/>
        <p:txBody>
          <a:bodyPr/>
          <a:lstStyle/>
          <a:p>
            <a:fld id="{241FEC92-B76A-4406-8C11-5D13CAFEB75E}" type="slidenum">
              <a:rPr lang="en-US" smtClean="0"/>
              <a:t>7</a:t>
            </a:fld>
            <a:endParaRPr lang="en-US"/>
          </a:p>
        </p:txBody>
      </p:sp>
    </p:spTree>
    <p:extLst>
      <p:ext uri="{BB962C8B-B14F-4D97-AF65-F5344CB8AC3E}">
        <p14:creationId xmlns:p14="http://schemas.microsoft.com/office/powerpoint/2010/main" val="41004993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aurin.org.au/about-aurin/strategy/</a:t>
            </a:r>
          </a:p>
          <a:p>
            <a:pPr rtl="0"/>
            <a:r>
              <a:rPr lang="en-US"/>
              <a:t>https://cloudstor.aarnet.edu.au/plus/s/pjbHKw2OXd9CtQD</a:t>
            </a:r>
          </a:p>
        </p:txBody>
      </p:sp>
      <p:sp>
        <p:nvSpPr>
          <p:cNvPr id="4" name="Slide Number Placeholder 3"/>
          <p:cNvSpPr>
            <a:spLocks noGrp="1"/>
          </p:cNvSpPr>
          <p:nvPr>
            <p:ph type="sldNum" sz="quarter" idx="5"/>
          </p:nvPr>
        </p:nvSpPr>
        <p:spPr/>
        <p:txBody>
          <a:bodyPr/>
          <a:lstStyle/>
          <a:p>
            <a:fld id="{241FEC92-B76A-4406-8C11-5D13CAFEB75E}" type="slidenum">
              <a:rPr lang="en-US" smtClean="0"/>
              <a:t>8</a:t>
            </a:fld>
            <a:endParaRPr lang="en-US"/>
          </a:p>
        </p:txBody>
      </p:sp>
    </p:spTree>
    <p:extLst>
      <p:ext uri="{BB962C8B-B14F-4D97-AF65-F5344CB8AC3E}">
        <p14:creationId xmlns:p14="http://schemas.microsoft.com/office/powerpoint/2010/main" val="4622243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aurin.org.au/about-aurin/strategy/</a:t>
            </a:r>
          </a:p>
          <a:p>
            <a:pPr rtl="0"/>
            <a:r>
              <a:rPr lang="en-US"/>
              <a:t>https://cloudstor.aarnet.edu.au/plus/s/pjbHKw2OXd9CtQD</a:t>
            </a:r>
          </a:p>
        </p:txBody>
      </p:sp>
      <p:sp>
        <p:nvSpPr>
          <p:cNvPr id="4" name="Slide Number Placeholder 3"/>
          <p:cNvSpPr>
            <a:spLocks noGrp="1"/>
          </p:cNvSpPr>
          <p:nvPr>
            <p:ph type="sldNum" sz="quarter" idx="5"/>
          </p:nvPr>
        </p:nvSpPr>
        <p:spPr/>
        <p:txBody>
          <a:bodyPr/>
          <a:lstStyle/>
          <a:p>
            <a:fld id="{241FEC92-B76A-4406-8C11-5D13CAFEB75E}" type="slidenum">
              <a:rPr lang="en-US" smtClean="0"/>
              <a:t>9</a:t>
            </a:fld>
            <a:endParaRPr lang="en-US"/>
          </a:p>
        </p:txBody>
      </p:sp>
    </p:spTree>
    <p:extLst>
      <p:ext uri="{BB962C8B-B14F-4D97-AF65-F5344CB8AC3E}">
        <p14:creationId xmlns:p14="http://schemas.microsoft.com/office/powerpoint/2010/main" val="34824686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https://aurin.org.au/about-aurin/strategy/</a:t>
            </a:r>
          </a:p>
          <a:p>
            <a:pPr rtl="0"/>
            <a:r>
              <a:rPr lang="en-US"/>
              <a:t>https://cloudstor.aarnet.edu.au/plus/s/pjbHKw2OXd9CtQD</a:t>
            </a:r>
          </a:p>
          <a:p>
            <a:pPr rtl="0"/>
            <a:r>
              <a:rPr lang="en-US"/>
              <a:t>https://www.humanities.org.au/wp-content/uploads/2019/04/AAH-DARIAH-Hunter.pdf</a:t>
            </a:r>
          </a:p>
        </p:txBody>
      </p:sp>
      <p:sp>
        <p:nvSpPr>
          <p:cNvPr id="4" name="Slide Number Placeholder 3"/>
          <p:cNvSpPr>
            <a:spLocks noGrp="1"/>
          </p:cNvSpPr>
          <p:nvPr>
            <p:ph type="sldNum" sz="quarter" idx="5"/>
          </p:nvPr>
        </p:nvSpPr>
        <p:spPr/>
        <p:txBody>
          <a:bodyPr/>
          <a:lstStyle/>
          <a:p>
            <a:fld id="{241FEC92-B76A-4406-8C11-5D13CAFEB75E}" type="slidenum">
              <a:rPr lang="en-US" smtClean="0"/>
              <a:t>10</a:t>
            </a:fld>
            <a:endParaRPr lang="en-US"/>
          </a:p>
        </p:txBody>
      </p:sp>
    </p:spTree>
    <p:extLst>
      <p:ext uri="{BB962C8B-B14F-4D97-AF65-F5344CB8AC3E}">
        <p14:creationId xmlns:p14="http://schemas.microsoft.com/office/powerpoint/2010/main" val="30773496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Cover">
    <p:bg>
      <p:bgPr>
        <a:solidFill>
          <a:schemeClr val="accent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8C5806-B73B-4AB2-AFE4-E311D44704BA}"/>
              </a:ext>
            </a:extLst>
          </p:cNvPr>
          <p:cNvGraphicFramePr>
            <a:graphicFrameLocks noChangeAspect="1"/>
          </p:cNvGraphicFramePr>
          <p:nvPr userDrawn="1">
            <p:custDataLst>
              <p:tags r:id="rId2"/>
            </p:custDataLst>
            <p:extLst>
              <p:ext uri="{D42A27DB-BD31-4B8C-83A1-F6EECF244321}">
                <p14:modId xmlns:p14="http://schemas.microsoft.com/office/powerpoint/2010/main" val="4226697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4" imgW="631" imgH="631" progId="TCLayout.ActiveDocument.1">
                  <p:embed/>
                </p:oleObj>
              </mc:Choice>
              <mc:Fallback>
                <p:oleObj name="think-cell Slide" r:id="rId4" imgW="631" imgH="631" progId="TCLayout.ActiveDocument.1">
                  <p:embed/>
                  <p:pic>
                    <p:nvPicPr>
                      <p:cNvPr id="8" name="Object 7" hidden="1">
                        <a:extLst>
                          <a:ext uri="{FF2B5EF4-FFF2-40B4-BE49-F238E27FC236}">
                            <a16:creationId xmlns:a16="http://schemas.microsoft.com/office/drawing/2014/main" id="{0F8C5806-B73B-4AB2-AFE4-E311D4470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latin typeface="DIN Next LT Arabic Medium" panose="020B0603020203050203" pitchFamily="34" charset="-78"/>
                <a:cs typeface="DIN Next LT Arabic Medium" panose="020B0603020203050203" pitchFamily="34" charset="-78"/>
              </a:defRPr>
            </a:lvl1pPr>
          </a:lstStyle>
          <a:p>
            <a:r>
              <a:rPr lang="en-US"/>
              <a:t>Click to edit Master title style</a:t>
            </a:r>
            <a:endParaRPr lang="ar-SA"/>
          </a:p>
        </p:txBody>
      </p:sp>
      <p:grpSp>
        <p:nvGrpSpPr>
          <p:cNvPr id="5" name="Group 4">
            <a:extLst>
              <a:ext uri="{FF2B5EF4-FFF2-40B4-BE49-F238E27FC236}">
                <a16:creationId xmlns:a16="http://schemas.microsoft.com/office/drawing/2014/main" id="{102F4175-8A23-489C-87DD-B1986A055421}"/>
              </a:ext>
            </a:extLst>
          </p:cNvPr>
          <p:cNvGrpSpPr/>
          <p:nvPr userDrawn="1"/>
        </p:nvGrpSpPr>
        <p:grpSpPr>
          <a:xfrm>
            <a:off x="0" y="0"/>
            <a:ext cx="2712278" cy="3626678"/>
            <a:chOff x="0" y="0"/>
            <a:chExt cx="2712278" cy="3626678"/>
          </a:xfrm>
        </p:grpSpPr>
        <p:sp>
          <p:nvSpPr>
            <p:cNvPr id="7" name="Freeform 1">
              <a:extLst>
                <a:ext uri="{FF2B5EF4-FFF2-40B4-BE49-F238E27FC236}">
                  <a16:creationId xmlns:a16="http://schemas.microsoft.com/office/drawing/2014/main" id="{041A710B-4FA4-44A4-82AD-FA74497A9E82}"/>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9F40B240-9B68-4DB0-87DC-043941E4401E}"/>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3768879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 Slide 4">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7F1226-E3C5-420E-84A5-D930863F2E27}"/>
              </a:ext>
            </a:extLst>
          </p:cNvPr>
          <p:cNvGraphicFramePr>
            <a:graphicFrameLocks noChangeAspect="1"/>
          </p:cNvGraphicFramePr>
          <p:nvPr userDrawn="1">
            <p:custDataLst>
              <p:tags r:id="rId2"/>
            </p:custDataLst>
            <p:extLst>
              <p:ext uri="{D42A27DB-BD31-4B8C-83A1-F6EECF244321}">
                <p14:modId xmlns:p14="http://schemas.microsoft.com/office/powerpoint/2010/main" val="619918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17F1226-E3C5-420E-84A5-D930863F2E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7C29C40B-0613-4E42-A255-03EB9A6E8063" descr="85ED7FC9-2C4D-4DBC-8223-6F643200BEC4@elm"/>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8168" y="1"/>
            <a:ext cx="10697633" cy="566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spTree>
    <p:extLst>
      <p:ext uri="{BB962C8B-B14F-4D97-AF65-F5344CB8AC3E}">
        <p14:creationId xmlns:p14="http://schemas.microsoft.com/office/powerpoint/2010/main" val="2929946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inner Slide ">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0"/>
            <a:ext cx="10972800" cy="1138137"/>
          </a:xfrm>
        </p:spPr>
        <p:txBody>
          <a:bodyPr anchor="b">
            <a:normAutofit/>
          </a:bodyPr>
          <a:lstStyle>
            <a:lvl1pPr algn="r">
              <a:defRPr sz="2500"/>
            </a:lvl1pPr>
          </a:lstStyle>
          <a:p>
            <a:r>
              <a:rPr lang="en-US"/>
              <a:t>Click to edit Master title style</a:t>
            </a:r>
            <a:endParaRPr lang="ar-SA"/>
          </a:p>
        </p:txBody>
      </p:sp>
      <p:sp>
        <p:nvSpPr>
          <p:cNvPr id="3" name="Date Placeholder 2"/>
          <p:cNvSpPr>
            <a:spLocks noGrp="1"/>
          </p:cNvSpPr>
          <p:nvPr>
            <p:ph type="dt" sz="half" idx="10"/>
          </p:nvPr>
        </p:nvSpPr>
        <p:spPr/>
        <p:txBody>
          <a:bodyPr/>
          <a:lstStyle/>
          <a:p>
            <a:endParaRPr lang="ar-SA"/>
          </a:p>
        </p:txBody>
      </p:sp>
      <p:sp>
        <p:nvSpPr>
          <p:cNvPr id="5" name="Slide Number Placeholder 4"/>
          <p:cNvSpPr>
            <a:spLocks noGrp="1"/>
          </p:cNvSpPr>
          <p:nvPr>
            <p:ph type="sldNum" sz="quarter" idx="12"/>
          </p:nvPr>
        </p:nvSpPr>
        <p:spPr>
          <a:xfrm>
            <a:off x="5747477" y="6356352"/>
            <a:ext cx="2844800" cy="365125"/>
          </a:xfrm>
        </p:spPr>
        <p:txBody>
          <a:bodyPr/>
          <a:lstStyle/>
          <a:p>
            <a:fld id="{9FDB499F-DC86-4996-A3C7-FCE8E06389C2}" type="slidenum">
              <a:rPr lang="ar-SA" smtClean="0"/>
              <a:t>‹#›</a:t>
            </a:fld>
            <a:endParaRPr lang="ar-SA"/>
          </a:p>
        </p:txBody>
      </p:sp>
    </p:spTree>
    <p:extLst>
      <p:ext uri="{BB962C8B-B14F-4D97-AF65-F5344CB8AC3E}">
        <p14:creationId xmlns:p14="http://schemas.microsoft.com/office/powerpoint/2010/main" val="445575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r Slide 2">
    <p:spTree>
      <p:nvGrpSpPr>
        <p:cNvPr id="1" name=""/>
        <p:cNvGrpSpPr/>
        <p:nvPr/>
      </p:nvGrpSpPr>
      <p:grpSpPr>
        <a:xfrm>
          <a:off x="0" y="0"/>
          <a:ext cx="0" cy="0"/>
          <a:chOff x="0" y="0"/>
          <a:chExt cx="0" cy="0"/>
        </a:xfrm>
      </p:grpSpPr>
      <p:sp>
        <p:nvSpPr>
          <p:cNvPr id="2" name="Title 1"/>
          <p:cNvSpPr>
            <a:spLocks noGrp="1"/>
          </p:cNvSpPr>
          <p:nvPr>
            <p:ph type="title"/>
          </p:nvPr>
        </p:nvSpPr>
        <p:spPr>
          <a:xfrm>
            <a:off x="1831709" y="273050"/>
            <a:ext cx="10120943" cy="779687"/>
          </a:xfrm>
        </p:spPr>
        <p:txBody>
          <a:bodyPr anchor="b">
            <a:normAutofit/>
          </a:bodyPr>
          <a:lstStyle>
            <a:lvl1pPr algn="r">
              <a:defRPr sz="2500" b="0"/>
            </a:lvl1pPr>
          </a:lstStyle>
          <a:p>
            <a:r>
              <a:rPr lang="en-US"/>
              <a:t>Click to edit Master title style</a:t>
            </a:r>
            <a:endParaRPr lang="ar-SA"/>
          </a:p>
        </p:txBody>
      </p:sp>
      <p:sp>
        <p:nvSpPr>
          <p:cNvPr id="3" name="Content Placeholder 2"/>
          <p:cNvSpPr>
            <a:spLocks noGrp="1"/>
          </p:cNvSpPr>
          <p:nvPr>
            <p:ph idx="1"/>
          </p:nvPr>
        </p:nvSpPr>
        <p:spPr>
          <a:xfrm>
            <a:off x="1295467" y="1232694"/>
            <a:ext cx="10657184" cy="54366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Tree>
    <p:extLst>
      <p:ext uri="{BB962C8B-B14F-4D97-AF65-F5344CB8AC3E}">
        <p14:creationId xmlns:p14="http://schemas.microsoft.com/office/powerpoint/2010/main" val="2759901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ner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A1A038-26D6-4448-BEFF-B10988F574D9}"/>
              </a:ext>
            </a:extLst>
          </p:cNvPr>
          <p:cNvGraphicFramePr>
            <a:graphicFrameLocks noChangeAspect="1"/>
          </p:cNvGraphicFramePr>
          <p:nvPr userDrawn="1">
            <p:custDataLst>
              <p:tags r:id="rId2"/>
            </p:custDataLst>
            <p:extLst>
              <p:ext uri="{D42A27DB-BD31-4B8C-83A1-F6EECF244321}">
                <p14:modId xmlns:p14="http://schemas.microsoft.com/office/powerpoint/2010/main" val="237784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5" imgW="370" imgH="371" progId="TCLayout.ActiveDocument.1">
                  <p:embed/>
                </p:oleObj>
              </mc:Choice>
              <mc:Fallback>
                <p:oleObj name="think-cell Slide" r:id="rId5" imgW="370" imgH="371" progId="TCLayout.ActiveDocument.1">
                  <p:embed/>
                  <p:pic>
                    <p:nvPicPr>
                      <p:cNvPr id="3" name="Object 2" hidden="1">
                        <a:extLst>
                          <a:ext uri="{FF2B5EF4-FFF2-40B4-BE49-F238E27FC236}">
                            <a16:creationId xmlns:a16="http://schemas.microsoft.com/office/drawing/2014/main" id="{14A1A038-26D6-4448-BEFF-B10988F574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7CA0DD-03C6-442E-9BE2-C89BD7DFF7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150" name="Title 1"/>
          <p:cNvSpPr>
            <a:spLocks noGrp="1"/>
          </p:cNvSpPr>
          <p:nvPr>
            <p:ph type="title"/>
          </p:nvPr>
        </p:nvSpPr>
        <p:spPr>
          <a:xfrm>
            <a:off x="624841" y="541020"/>
            <a:ext cx="9695630" cy="610238"/>
          </a:xfrm>
        </p:spPr>
        <p:txBody>
          <a:bodyPr>
            <a:normAutofit/>
          </a:bodyPr>
          <a:lstStyle>
            <a:lvl1pPr algn="r">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3824672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 Slide">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965EF0-C87F-47D8-BB53-488B97E1F6D2}"/>
              </a:ext>
            </a:extLst>
          </p:cNvPr>
          <p:cNvGraphicFramePr>
            <a:graphicFrameLocks noChangeAspect="1"/>
          </p:cNvGraphicFramePr>
          <p:nvPr userDrawn="1">
            <p:custDataLst>
              <p:tags r:id="rId2"/>
            </p:custDataLst>
            <p:extLst>
              <p:ext uri="{D42A27DB-BD31-4B8C-83A1-F6EECF244321}">
                <p14:modId xmlns:p14="http://schemas.microsoft.com/office/powerpoint/2010/main" val="295363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35965EF0-C87F-47D8-BB53-488B97E1F6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1199456" y="3068960"/>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5AF2ECCF-13AD-454C-9087-38FC1F150860" descr="2F1ADF95-1650-4CCF-A78E-7A33FEEBFD83@elm">
            <a:extLst>
              <a:ext uri="{FF2B5EF4-FFF2-40B4-BE49-F238E27FC236}">
                <a16:creationId xmlns:a16="http://schemas.microsoft.com/office/drawing/2014/main" id="{1A2A79C7-E6E3-4017-8899-65C9E4229837}"/>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48682" y="20052"/>
            <a:ext cx="12230716" cy="6837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4458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 Slide 2">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BF8873-42C5-4B9A-BCBF-247B824D30DC}"/>
              </a:ext>
            </a:extLst>
          </p:cNvPr>
          <p:cNvGraphicFramePr>
            <a:graphicFrameLocks noChangeAspect="1"/>
          </p:cNvGraphicFramePr>
          <p:nvPr userDrawn="1">
            <p:custDataLst>
              <p:tags r:id="rId2"/>
            </p:custDataLst>
            <p:extLst>
              <p:ext uri="{D42A27DB-BD31-4B8C-83A1-F6EECF244321}">
                <p14:modId xmlns:p14="http://schemas.microsoft.com/office/powerpoint/2010/main" val="201559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A9BF8873-42C5-4B9A-BCBF-247B824D3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5423926" y="5157192"/>
            <a:ext cx="6240693"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pic>
        <p:nvPicPr>
          <p:cNvPr id="7" name="B81BD7F7-A629-410E-A3A8-9498B35DD071" descr="F85298B0-E076-41C9-B66C-4602906B10FF@elm">
            <a:extLst>
              <a:ext uri="{FF2B5EF4-FFF2-40B4-BE49-F238E27FC236}">
                <a16:creationId xmlns:a16="http://schemas.microsoft.com/office/drawing/2014/main" id="{D2880601-6232-43AF-8B6F-0825511D458B}"/>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0" y="1"/>
            <a:ext cx="12939069" cy="6856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996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 Slide 3">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A41817-5489-423E-B612-AE2DF7FAD622}"/>
              </a:ext>
            </a:extLst>
          </p:cNvPr>
          <p:cNvGraphicFramePr>
            <a:graphicFrameLocks noChangeAspect="1"/>
          </p:cNvGraphicFramePr>
          <p:nvPr userDrawn="1">
            <p:custDataLst>
              <p:tags r:id="rId2"/>
            </p:custDataLst>
            <p:extLst>
              <p:ext uri="{D42A27DB-BD31-4B8C-83A1-F6EECF244321}">
                <p14:modId xmlns:p14="http://schemas.microsoft.com/office/powerpoint/2010/main" val="234818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4" imgW="631" imgH="631" progId="TCLayout.ActiveDocument.1">
                  <p:embed/>
                </p:oleObj>
              </mc:Choice>
              <mc:Fallback>
                <p:oleObj name="think-cell Slide" r:id="rId4" imgW="631" imgH="631" progId="TCLayout.ActiveDocument.1">
                  <p:embed/>
                  <p:pic>
                    <p:nvPicPr>
                      <p:cNvPr id="5" name="Object 4" hidden="1">
                        <a:extLst>
                          <a:ext uri="{FF2B5EF4-FFF2-40B4-BE49-F238E27FC236}">
                            <a16:creationId xmlns:a16="http://schemas.microsoft.com/office/drawing/2014/main" id="{53A41817-5489-423E-B612-AE2DF7FAD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a:spLocks noGrp="1"/>
          </p:cNvSpPr>
          <p:nvPr>
            <p:ph type="ctrTitle"/>
          </p:nvPr>
        </p:nvSpPr>
        <p:spPr>
          <a:xfrm>
            <a:off x="815413" y="980728"/>
            <a:ext cx="9889099" cy="792088"/>
          </a:xfrm>
        </p:spPr>
        <p:txBody>
          <a:bodyPr vert="horz" anchor="ctr">
            <a:normAutofit/>
          </a:bodyPr>
          <a:lstStyle>
            <a:lvl1pPr algn="r" rtl="1">
              <a:defRPr sz="2500">
                <a:solidFill>
                  <a:schemeClr val="bg2"/>
                </a:solidFill>
              </a:defRPr>
            </a:lvl1pPr>
          </a:lstStyle>
          <a:p>
            <a:r>
              <a:rPr lang="en-US"/>
              <a:t>Click to edit Master title style</a:t>
            </a:r>
            <a:endParaRPr lang="ar-SA"/>
          </a:p>
        </p:txBody>
      </p:sp>
      <p:grpSp>
        <p:nvGrpSpPr>
          <p:cNvPr id="7" name="Group 6">
            <a:extLst>
              <a:ext uri="{FF2B5EF4-FFF2-40B4-BE49-F238E27FC236}">
                <a16:creationId xmlns:a16="http://schemas.microsoft.com/office/drawing/2014/main" id="{2BCA7D5D-5E46-4227-8E07-10F9C1FBFB2E}"/>
              </a:ext>
            </a:extLst>
          </p:cNvPr>
          <p:cNvGrpSpPr/>
          <p:nvPr userDrawn="1"/>
        </p:nvGrpSpPr>
        <p:grpSpPr>
          <a:xfrm>
            <a:off x="0" y="0"/>
            <a:ext cx="2712278" cy="3626678"/>
            <a:chOff x="0" y="0"/>
            <a:chExt cx="2712278" cy="3626678"/>
          </a:xfrm>
        </p:grpSpPr>
        <p:sp>
          <p:nvSpPr>
            <p:cNvPr id="8" name="Freeform 1">
              <a:extLst>
                <a:ext uri="{FF2B5EF4-FFF2-40B4-BE49-F238E27FC236}">
                  <a16:creationId xmlns:a16="http://schemas.microsoft.com/office/drawing/2014/main" id="{CA40717F-23FA-456E-BEF7-B80280C23AC4}"/>
                </a:ext>
              </a:extLst>
            </p:cNvPr>
            <p:cNvSpPr/>
            <p:nvPr userDrawn="1"/>
          </p:nvSpPr>
          <p:spPr>
            <a:xfrm>
              <a:off x="0" y="0"/>
              <a:ext cx="2712278" cy="3626678"/>
            </a:xfrm>
            <a:custGeom>
              <a:avLst/>
              <a:gdLst>
                <a:gd name="connsiteX0" fmla="*/ 2712278 w 2712278"/>
                <a:gd name="connsiteY0" fmla="*/ 0 h 3626678"/>
                <a:gd name="connsiteX1" fmla="*/ 2685774 w 2712278"/>
                <a:gd name="connsiteY1" fmla="*/ 1373808 h 3626678"/>
                <a:gd name="connsiteX2" fmla="*/ 0 w 2712278"/>
                <a:gd name="connsiteY2" fmla="*/ 3626678 h 3626678"/>
              </a:gdLst>
              <a:ahLst/>
              <a:cxnLst>
                <a:cxn ang="0">
                  <a:pos x="connsiteX0" y="connsiteY0"/>
                </a:cxn>
                <a:cxn ang="0">
                  <a:pos x="connsiteX1" y="connsiteY1"/>
                </a:cxn>
                <a:cxn ang="0">
                  <a:pos x="connsiteX2" y="connsiteY2"/>
                </a:cxn>
              </a:cxnLst>
              <a:rect l="l" t="t" r="r" b="b"/>
              <a:pathLst>
                <a:path w="2712278" h="3626678">
                  <a:moveTo>
                    <a:pt x="2712278" y="0"/>
                  </a:moveTo>
                  <a:lnTo>
                    <a:pt x="2685774" y="1373808"/>
                  </a:lnTo>
                  <a:lnTo>
                    <a:pt x="0" y="362667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sp>
          <p:nvSpPr>
            <p:cNvPr id="9" name="Freeform 2">
              <a:extLst>
                <a:ext uri="{FF2B5EF4-FFF2-40B4-BE49-F238E27FC236}">
                  <a16:creationId xmlns:a16="http://schemas.microsoft.com/office/drawing/2014/main" id="{345A8B3D-85A9-441D-A6B1-A5EAB9431EBD}"/>
                </a:ext>
              </a:extLst>
            </p:cNvPr>
            <p:cNvSpPr/>
            <p:nvPr userDrawn="1"/>
          </p:nvSpPr>
          <p:spPr>
            <a:xfrm>
              <a:off x="0" y="905565"/>
              <a:ext cx="2690192" cy="463826"/>
            </a:xfrm>
            <a:custGeom>
              <a:avLst/>
              <a:gdLst>
                <a:gd name="connsiteX0" fmla="*/ 0 w 2690192"/>
                <a:gd name="connsiteY0" fmla="*/ 0 h 463826"/>
                <a:gd name="connsiteX1" fmla="*/ 2690192 w 2690192"/>
                <a:gd name="connsiteY1" fmla="*/ 463826 h 463826"/>
              </a:gdLst>
              <a:ahLst/>
              <a:cxnLst>
                <a:cxn ang="0">
                  <a:pos x="connsiteX0" y="connsiteY0"/>
                </a:cxn>
                <a:cxn ang="0">
                  <a:pos x="connsiteX1" y="connsiteY1"/>
                </a:cxn>
              </a:cxnLst>
              <a:rect l="l" t="t" r="r" b="b"/>
              <a:pathLst>
                <a:path w="2690192" h="463826">
                  <a:moveTo>
                    <a:pt x="0" y="0"/>
                  </a:moveTo>
                  <a:lnTo>
                    <a:pt x="2690192" y="463826"/>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a:p>
          </p:txBody>
        </p:sp>
      </p:grpSp>
    </p:spTree>
    <p:extLst>
      <p:ext uri="{BB962C8B-B14F-4D97-AF65-F5344CB8AC3E}">
        <p14:creationId xmlns:p14="http://schemas.microsoft.com/office/powerpoint/2010/main" val="40130936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شريحة داخلية 9">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44416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645160" y="6446520"/>
            <a:ext cx="8140700" cy="274957"/>
          </a:xfrm>
        </p:spPr>
        <p:txBody>
          <a:bodyPr anchor="b"/>
          <a:lstStyle>
            <a:lvl1pPr algn="r">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1138901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9744602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84" userDrawn="1">
          <p15:clr>
            <a:srgbClr val="FBAE40"/>
          </p15:clr>
        </p15:guide>
        <p15:guide id="4" pos="72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rabic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1655AC-2307-4685-8A7A-5D6B3D37F9AC}"/>
              </a:ext>
            </a:extLst>
          </p:cNvPr>
          <p:cNvGraphicFramePr>
            <a:graphicFrameLocks noChangeAspect="1"/>
          </p:cNvGraphicFramePr>
          <p:nvPr userDrawn="1">
            <p:custDataLst>
              <p:tags r:id="rId2"/>
            </p:custDataLst>
            <p:extLst>
              <p:ext uri="{D42A27DB-BD31-4B8C-83A1-F6EECF244321}">
                <p14:modId xmlns:p14="http://schemas.microsoft.com/office/powerpoint/2010/main" val="2987913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5" imgW="370" imgH="371" progId="TCLayout.ActiveDocument.1">
                  <p:embed/>
                </p:oleObj>
              </mc:Choice>
              <mc:Fallback>
                <p:oleObj name="think-cell Slide" r:id="rId5" imgW="370" imgH="371" progId="TCLayout.ActiveDocument.1">
                  <p:embed/>
                  <p:pic>
                    <p:nvPicPr>
                      <p:cNvPr id="7" name="Object 6" hidden="1">
                        <a:extLst>
                          <a:ext uri="{FF2B5EF4-FFF2-40B4-BE49-F238E27FC236}">
                            <a16:creationId xmlns:a16="http://schemas.microsoft.com/office/drawing/2014/main" id="{151655AC-2307-4685-8A7A-5D6B3D37F9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5B15B37-8B82-498C-A832-6DF4A0964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DIN Next LT Arabic Medium" panose="020B0603020203050203" pitchFamily="34" charset="-78"/>
              <a:ea typeface="+mj-ea"/>
              <a:cs typeface="+mj-cs"/>
              <a:sym typeface="DIN Next LT Arabic Medium" panose="020B0603020203050203" pitchFamily="34" charset="-78"/>
            </a:endParaRPr>
          </a:p>
        </p:txBody>
      </p:sp>
      <p:sp>
        <p:nvSpPr>
          <p:cNvPr id="4" name="Footer Placeholder 3">
            <a:extLst>
              <a:ext uri="{FF2B5EF4-FFF2-40B4-BE49-F238E27FC236}">
                <a16:creationId xmlns:a16="http://schemas.microsoft.com/office/drawing/2014/main" id="{DAADBF67-03DD-4DE5-B334-8CD41719ED4E}"/>
              </a:ext>
            </a:extLst>
          </p:cNvPr>
          <p:cNvSpPr>
            <a:spLocks noGrp="1"/>
          </p:cNvSpPr>
          <p:nvPr>
            <p:ph type="ftr" sz="quarter" idx="11"/>
          </p:nvPr>
        </p:nvSpPr>
        <p:spPr>
          <a:xfrm>
            <a:off x="3390550" y="6446520"/>
            <a:ext cx="8140700" cy="274957"/>
          </a:xfrm>
        </p:spPr>
        <p:txBody>
          <a:bodyPr anchor="b"/>
          <a:lstStyle>
            <a:lvl1pPr algn="r" rtl="1">
              <a:defRPr sz="900">
                <a:solidFill>
                  <a:schemeClr val="bg1">
                    <a:lumMod val="65000"/>
                  </a:schemeClr>
                </a:solidFill>
              </a:defRPr>
            </a:lvl1pPr>
          </a:lstStyle>
          <a:p>
            <a:r>
              <a:rPr lang="en-US"/>
              <a:t>Source: Official website, company brochure, annual reports, press search, team analysis</a:t>
            </a:r>
            <a:endParaRPr lang="ar-SA"/>
          </a:p>
        </p:txBody>
      </p:sp>
      <p:sp>
        <p:nvSpPr>
          <p:cNvPr id="5" name="Slide Number Placeholder 4">
            <a:extLst>
              <a:ext uri="{FF2B5EF4-FFF2-40B4-BE49-F238E27FC236}">
                <a16:creationId xmlns:a16="http://schemas.microsoft.com/office/drawing/2014/main" id="{3B032527-04B0-4D45-B6E7-AAAEE4B6B87C}"/>
              </a:ext>
            </a:extLst>
          </p:cNvPr>
          <p:cNvSpPr>
            <a:spLocks noGrp="1"/>
          </p:cNvSpPr>
          <p:nvPr>
            <p:ph type="sldNum" sz="quarter" idx="12"/>
          </p:nvPr>
        </p:nvSpPr>
        <p:spPr>
          <a:xfrm>
            <a:off x="393700" y="6446520"/>
            <a:ext cx="409290" cy="274957"/>
          </a:xfrm>
        </p:spPr>
        <p:txBody>
          <a:bodyPr/>
          <a:lstStyle>
            <a:lvl1pPr algn="r" rtl="1">
              <a:defRPr sz="900">
                <a:solidFill>
                  <a:schemeClr val="bg1">
                    <a:lumMod val="65000"/>
                  </a:schemeClr>
                </a:solidFill>
              </a:defRPr>
            </a:lvl1pPr>
          </a:lstStyle>
          <a:p>
            <a:fld id="{9FDB499F-DC86-4996-A3C7-FCE8E06389C2}" type="slidenum">
              <a:rPr lang="ar-SA" smtClean="0"/>
              <a:pPr/>
              <a:t>‹#›</a:t>
            </a:fld>
            <a:endParaRPr lang="ar-SA"/>
          </a:p>
        </p:txBody>
      </p:sp>
      <p:sp>
        <p:nvSpPr>
          <p:cNvPr id="3" name="Title 2">
            <a:extLst>
              <a:ext uri="{FF2B5EF4-FFF2-40B4-BE49-F238E27FC236}">
                <a16:creationId xmlns:a16="http://schemas.microsoft.com/office/drawing/2014/main" id="{535B55FC-D5A3-45EE-99B7-77E0608F2DDE}"/>
              </a:ext>
            </a:extLst>
          </p:cNvPr>
          <p:cNvSpPr>
            <a:spLocks noGrp="1"/>
          </p:cNvSpPr>
          <p:nvPr>
            <p:ph type="title"/>
          </p:nvPr>
        </p:nvSpPr>
        <p:spPr>
          <a:xfrm>
            <a:off x="533400" y="556260"/>
            <a:ext cx="11049000" cy="579758"/>
          </a:xfrm>
        </p:spPr>
        <p:txBody>
          <a:bodyPr vert="horz">
            <a:noAutofit/>
          </a:bodyPr>
          <a:lstStyle>
            <a:lvl1pPr algn="r" rtl="1">
              <a:defRPr sz="3200">
                <a:solidFill>
                  <a:schemeClr val="accent3"/>
                </a:solidFill>
              </a:defRPr>
            </a:lvl1pPr>
          </a:lstStyle>
          <a:p>
            <a:r>
              <a:rPr lang="en-US"/>
              <a:t>Click to edit Master title style</a:t>
            </a:r>
          </a:p>
        </p:txBody>
      </p:sp>
    </p:spTree>
    <p:extLst>
      <p:ext uri="{BB962C8B-B14F-4D97-AF65-F5344CB8AC3E}">
        <p14:creationId xmlns:p14="http://schemas.microsoft.com/office/powerpoint/2010/main" val="2987359084"/>
      </p:ext>
    </p:extLst>
  </p:cSld>
  <p:clrMapOvr>
    <a:masterClrMapping/>
  </p:clrMapOvr>
  <p:extLst>
    <p:ext uri="{DCECCB84-F9BA-43D5-87BE-67443E8EF086}">
      <p15:sldGuideLst xmlns:p15="http://schemas.microsoft.com/office/powerpoint/2012/main">
        <p15:guide id="1" pos="7272" userDrawn="1">
          <p15:clr>
            <a:srgbClr val="FBAE40"/>
          </p15:clr>
        </p15:guide>
        <p15:guide id="2" pos="40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C04E26-759C-4DAA-B5D9-904E48EBD71F}"/>
              </a:ext>
            </a:extLst>
          </p:cNvPr>
          <p:cNvGraphicFramePr>
            <a:graphicFrameLocks noChangeAspect="1"/>
          </p:cNvGraphicFramePr>
          <p:nvPr userDrawn="1">
            <p:custDataLst>
              <p:tags r:id="rId13"/>
            </p:custDataLst>
            <p:extLst>
              <p:ext uri="{D42A27DB-BD31-4B8C-83A1-F6EECF244321}">
                <p14:modId xmlns:p14="http://schemas.microsoft.com/office/powerpoint/2010/main" val="311844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15" imgW="421" imgH="420" progId="TCLayout.ActiveDocument.1">
                  <p:embed/>
                </p:oleObj>
              </mc:Choice>
              <mc:Fallback>
                <p:oleObj name="think-cell Slide" r:id="rId15" imgW="421" imgH="420" progId="TCLayout.ActiveDocument.1">
                  <p:embed/>
                  <p:pic>
                    <p:nvPicPr>
                      <p:cNvPr id="8" name="Object 7" hidden="1">
                        <a:extLst>
                          <a:ext uri="{FF2B5EF4-FFF2-40B4-BE49-F238E27FC236}">
                            <a16:creationId xmlns:a16="http://schemas.microsoft.com/office/drawing/2014/main" id="{CCC04E26-759C-4DAA-B5D9-904E48EBD71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EDD7146-F7F5-4380-882B-6C4035F364B2}"/>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DIN Next LT Arabic Medium"/>
              <a:ea typeface="+mj-ea"/>
              <a:cs typeface="+mj-cs"/>
              <a:sym typeface="DIN Next LT Arabic Medium"/>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1" anchor="ctr">
            <a:normAutofit/>
          </a:bodyPr>
          <a:lstStyle/>
          <a:p>
            <a:r>
              <a:rPr lang="en-US"/>
              <a:t>Click to edit Master title style</a:t>
            </a:r>
            <a:endParaRPr lang="ar-SA"/>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r-SA"/>
          </a:p>
        </p:txBody>
      </p:sp>
      <p:sp>
        <p:nvSpPr>
          <p:cNvPr id="4" name="Date Placeholder 3"/>
          <p:cNvSpPr>
            <a:spLocks noGrp="1"/>
          </p:cNvSpPr>
          <p:nvPr>
            <p:ph type="dt" sz="half" idx="2"/>
          </p:nvPr>
        </p:nvSpPr>
        <p:spPr>
          <a:xfrm>
            <a:off x="8737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endParaRPr lang="ar-SA"/>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r>
              <a:rPr lang="en-US"/>
              <a:t>Source: Official website, company brochure, annual reports, press search, team analysis</a:t>
            </a:r>
            <a:endParaRPr lang="ar-SA"/>
          </a:p>
        </p:txBody>
      </p:sp>
      <p:sp>
        <p:nvSpPr>
          <p:cNvPr id="6" name="Slide Number Placeholder 5"/>
          <p:cNvSpPr>
            <a:spLocks noGrp="1"/>
          </p:cNvSpPr>
          <p:nvPr>
            <p:ph type="sldNum" sz="quarter" idx="4"/>
          </p:nvPr>
        </p:nvSpPr>
        <p:spPr>
          <a:xfrm>
            <a:off x="609600" y="6356352"/>
            <a:ext cx="28448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9FDB499F-DC86-4996-A3C7-FCE8E06389C2}" type="slidenum">
              <a:rPr lang="ar-SA" smtClean="0"/>
              <a:t>‹#›</a:t>
            </a:fld>
            <a:endParaRPr lang="ar-SA"/>
          </a:p>
        </p:txBody>
      </p:sp>
    </p:spTree>
    <p:extLst>
      <p:ext uri="{BB962C8B-B14F-4D97-AF65-F5344CB8AC3E}">
        <p14:creationId xmlns:p14="http://schemas.microsoft.com/office/powerpoint/2010/main" val="749747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4" r:id="rId8"/>
    <p:sldLayoutId id="2147483676" r:id="rId9"/>
    <p:sldLayoutId id="2147483681" r:id="rId10"/>
  </p:sldLayoutIdLst>
  <p:hf hdr="0" dt="0"/>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9.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4.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0.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1.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8.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2.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3.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2.xml"/><Relationship Id="rId7" Type="http://schemas.openxmlformats.org/officeDocument/2006/relationships/image" Target="../media/image3.emf"/><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4.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8.png"/><Relationship Id="rId3" Type="http://schemas.openxmlformats.org/officeDocument/2006/relationships/tags" Target="../tags/tag44.xml"/><Relationship Id="rId7" Type="http://schemas.openxmlformats.org/officeDocument/2006/relationships/image" Target="../media/image3.emf"/><Relationship Id="rId12" Type="http://schemas.openxmlformats.org/officeDocument/2006/relationships/image" Target="../media/image7.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23.svg"/><Relationship Id="rId5" Type="http://schemas.openxmlformats.org/officeDocument/2006/relationships/notesSlide" Target="../notesSlides/notesSlide15.xml"/><Relationship Id="rId10" Type="http://schemas.openxmlformats.org/officeDocument/2006/relationships/image" Target="../media/image22.png"/><Relationship Id="rId4" Type="http://schemas.openxmlformats.org/officeDocument/2006/relationships/slideLayout" Target="../slideLayouts/slideLayout9.xml"/><Relationship Id="rId9" Type="http://schemas.openxmlformats.org/officeDocument/2006/relationships/image" Target="../media/image21.svg"/></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7.png"/><Relationship Id="rId3" Type="http://schemas.openxmlformats.org/officeDocument/2006/relationships/tags" Target="../tags/tag46.xml"/><Relationship Id="rId7" Type="http://schemas.openxmlformats.org/officeDocument/2006/relationships/image" Target="../media/image1.emf"/><Relationship Id="rId12" Type="http://schemas.openxmlformats.org/officeDocument/2006/relationships/image" Target="../media/image26.png"/><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25.png"/><Relationship Id="rId5" Type="http://schemas.openxmlformats.org/officeDocument/2006/relationships/notesSlide" Target="../notesSlides/notesSlide16.xml"/><Relationship Id="rId10" Type="http://schemas.openxmlformats.org/officeDocument/2006/relationships/image" Target="../media/image23.svg"/><Relationship Id="rId4" Type="http://schemas.openxmlformats.org/officeDocument/2006/relationships/slideLayout" Target="../slideLayouts/slideLayout9.xml"/><Relationship Id="rId9" Type="http://schemas.openxmlformats.org/officeDocument/2006/relationships/image" Target="../media/image22.png"/><Relationship Id="rId14" Type="http://schemas.openxmlformats.org/officeDocument/2006/relationships/image" Target="../media/image8.png"/></Relationships>
</file>

<file path=ppt/slides/_rels/slide1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48.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oleObject" Target="../embeddings/oleObject26.bin"/><Relationship Id="rId11" Type="http://schemas.openxmlformats.org/officeDocument/2006/relationships/image" Target="../media/image7.png"/><Relationship Id="rId5" Type="http://schemas.openxmlformats.org/officeDocument/2006/relationships/notesSlide" Target="../notesSlides/notesSlide17.xml"/><Relationship Id="rId10" Type="http://schemas.openxmlformats.org/officeDocument/2006/relationships/image" Target="../media/image29.png"/><Relationship Id="rId4" Type="http://schemas.openxmlformats.org/officeDocument/2006/relationships/slideLayout" Target="../slideLayouts/slideLayout9.xml"/><Relationship Id="rId9" Type="http://schemas.openxmlformats.org/officeDocument/2006/relationships/image" Target="../media/image28.png"/></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oleObject" Target="../embeddings/oleObject27.bin"/><Relationship Id="rId11" Type="http://schemas.openxmlformats.org/officeDocument/2006/relationships/image" Target="../media/image8.png"/><Relationship Id="rId5" Type="http://schemas.openxmlformats.org/officeDocument/2006/relationships/notesSlide" Target="../notesSlides/notesSlide18.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8.png"/><Relationship Id="rId3" Type="http://schemas.openxmlformats.org/officeDocument/2006/relationships/tags" Target="../tags/tag52.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oleObject" Target="../embeddings/oleObject28.bin"/><Relationship Id="rId11" Type="http://schemas.openxmlformats.org/officeDocument/2006/relationships/image" Target="../media/image35.jpeg"/><Relationship Id="rId5" Type="http://schemas.openxmlformats.org/officeDocument/2006/relationships/notesSlide" Target="../notesSlides/notesSlide19.xml"/><Relationship Id="rId10" Type="http://schemas.openxmlformats.org/officeDocument/2006/relationships/image" Target="../media/image34.jpeg"/><Relationship Id="rId4" Type="http://schemas.openxmlformats.org/officeDocument/2006/relationships/slideLayout" Target="../slideLayouts/slideLayout9.xml"/><Relationship Id="rId9" Type="http://schemas.openxmlformats.org/officeDocument/2006/relationships/image" Target="../media/image33.jpeg"/></Relationships>
</file>

<file path=ppt/slides/_rels/slide2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54.xml"/><Relationship Id="rId7" Type="http://schemas.openxmlformats.org/officeDocument/2006/relationships/image" Target="../media/image3.emf"/><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0.xml"/><Relationship Id="rId10" Type="http://schemas.openxmlformats.org/officeDocument/2006/relationships/image" Target="../media/image8.png"/><Relationship Id="rId4" Type="http://schemas.openxmlformats.org/officeDocument/2006/relationships/slideLayout" Target="../slideLayouts/slideLayout9.xml"/><Relationship Id="rId9" Type="http://schemas.openxmlformats.org/officeDocument/2006/relationships/image" Target="../media/image7.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9.xml"/><Relationship Id="rId7" Type="http://schemas.openxmlformats.org/officeDocument/2006/relationships/image" Target="../media/image7.png"/><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8.png"/><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10.jpe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4.png"/><Relationship Id="rId5" Type="http://schemas.openxmlformats.org/officeDocument/2006/relationships/notesSlide" Target="../notesSlides/notesSlide3.xml"/><Relationship Id="rId10" Type="http://schemas.openxmlformats.org/officeDocument/2006/relationships/image" Target="../media/image13.png"/><Relationship Id="rId4" Type="http://schemas.openxmlformats.org/officeDocument/2006/relationships/slideLayout" Target="../slideLayouts/slideLayout9.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18.png"/><Relationship Id="rId5" Type="http://schemas.openxmlformats.org/officeDocument/2006/relationships/notesSlide" Target="../notesSlides/notesSlide4.xml"/><Relationship Id="rId10" Type="http://schemas.openxmlformats.org/officeDocument/2006/relationships/image" Target="../media/image17.png"/><Relationship Id="rId4" Type="http://schemas.openxmlformats.org/officeDocument/2006/relationships/slideLayout" Target="../slideLayouts/slideLayout9.xml"/><Relationship Id="rId9" Type="http://schemas.openxmlformats.org/officeDocument/2006/relationships/image" Target="../media/image16.sv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8.png"/><Relationship Id="rId5" Type="http://schemas.openxmlformats.org/officeDocument/2006/relationships/notesSlide" Target="../notesSlides/notesSlide5.xml"/><Relationship Id="rId10" Type="http://schemas.openxmlformats.org/officeDocument/2006/relationships/image" Target="../media/image7.png"/><Relationship Id="rId4" Type="http://schemas.openxmlformats.org/officeDocument/2006/relationships/slideLayout" Target="../slideLayouts/slideLayout9.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6.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7.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0.xml"/><Relationship Id="rId7" Type="http://schemas.openxmlformats.org/officeDocument/2006/relationships/image" Target="../media/image3.emf"/><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8.xml"/><Relationship Id="rId4" Type="http://schemas.openxmlformats.org/officeDocument/2006/relationships/slideLayout" Target="../slideLayouts/slideLayout9.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7">
            <a:extLst>
              <a:ext uri="{FF2B5EF4-FFF2-40B4-BE49-F238E27FC236}">
                <a16:creationId xmlns:a16="http://schemas.microsoft.com/office/drawing/2014/main" id="{62A4A45B-F0D1-564C-A1FC-17FA94370003}"/>
              </a:ext>
            </a:extLst>
          </p:cNvPr>
          <p:cNvSpPr txBox="1">
            <a:spLocks/>
          </p:cNvSpPr>
          <p:nvPr/>
        </p:nvSpPr>
        <p:spPr>
          <a:xfrm>
            <a:off x="10290426" y="1579626"/>
            <a:ext cx="1352934" cy="1477328"/>
          </a:xfrm>
          <a:prstGeom prst="rect">
            <a:avLst/>
          </a:prstGeom>
        </p:spPr>
        <p:txBody>
          <a:bodyPr vert="horz" wrap="none" lIns="0" tIns="0" rIns="0" bIns="0" rtlCol="1" anchor="ctr">
            <a:spAutoFit/>
          </a:bodyPr>
          <a:lstStyle>
            <a:lvl1pPr algn="r" defTabSz="914400" rtl="1" eaLnBrk="1" latinLnBrk="0" hangingPunct="1">
              <a:spcBef>
                <a:spcPct val="0"/>
              </a:spcBef>
              <a:buNone/>
              <a:defRPr sz="2500" kern="1200">
                <a:solidFill>
                  <a:schemeClr val="bg2"/>
                </a:solidFill>
                <a:latin typeface="+mj-lt"/>
                <a:ea typeface="+mj-ea"/>
                <a:cs typeface="+mj-cs"/>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9600" b="0" i="0" u="none" strike="noStrike" cap="none" normalizeH="0" baseline="0" noProof="0">
                <a:ln>
                  <a:noFill/>
                </a:ln>
                <a:solidFill>
                  <a:srgbClr val="FFFFFF"/>
                </a:solidFill>
                <a:effectLst/>
                <a:uLnTx/>
                <a:uFillTx/>
                <a:latin typeface="DIN Next LT Arabic Medium" panose="020B0503020203050203" pitchFamily="34" charset="-78"/>
                <a:ea typeface="+mj-ea"/>
                <a:cs typeface="DIN Next LT Arabic Medium" panose="020B0503020203050203" pitchFamily="34" charset="-78"/>
              </a:rPr>
              <a:t>02</a:t>
            </a:r>
          </a:p>
        </p:txBody>
      </p:sp>
      <p:sp>
        <p:nvSpPr>
          <p:cNvPr id="6" name="TextBox 5">
            <a:extLst>
              <a:ext uri="{FF2B5EF4-FFF2-40B4-BE49-F238E27FC236}">
                <a16:creationId xmlns:a16="http://schemas.microsoft.com/office/drawing/2014/main" id="{E302C420-886D-474C-A7AA-C0FA37C441FD}"/>
              </a:ext>
            </a:extLst>
          </p:cNvPr>
          <p:cNvSpPr txBox="1"/>
          <p:nvPr/>
        </p:nvSpPr>
        <p:spPr>
          <a:xfrm>
            <a:off x="7475884" y="3051874"/>
            <a:ext cx="4167476" cy="2308324"/>
          </a:xfrm>
          <a:prstGeom prst="rect">
            <a:avLst/>
          </a:prstGeom>
          <a:noFill/>
        </p:spPr>
        <p:txBody>
          <a:bodyPr wrap="square">
            <a:spAutoFit/>
          </a:body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ar-SA" sz="3600" b="0" i="0" u="none" strike="noStrike" cap="none" normalizeH="0" baseline="0" noProof="0">
                <a:ln>
                  <a:noFill/>
                </a:ln>
                <a:solidFill>
                  <a:srgbClr val="FFFFFF"/>
                </a:solidFill>
                <a:effectLst/>
                <a:uLnTx/>
                <a:uFillTx/>
                <a:latin typeface="+mj-lt"/>
                <a:ea typeface="+mn-ea"/>
                <a:cs typeface="DIN Next LT Arabic Medium" panose="020B0503020203050203" pitchFamily="34" charset="-78"/>
              </a:rPr>
              <a:t>الشبكة الأسترالية للبنية التحتية للأبحاث الحضرية - أستراليا</a:t>
            </a:r>
          </a:p>
        </p:txBody>
      </p:sp>
    </p:spTree>
    <p:extLst>
      <p:ext uri="{BB962C8B-B14F-4D97-AF65-F5344CB8AC3E}">
        <p14:creationId xmlns:p14="http://schemas.microsoft.com/office/powerpoint/2010/main" val="2382333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1423665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1"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4" name="Slide Number Placeholder 4">
            <a:extLst>
              <a:ext uri="{FF2B5EF4-FFF2-40B4-BE49-F238E27FC236}">
                <a16:creationId xmlns:a16="http://schemas.microsoft.com/office/drawing/2014/main" id="{6E7A5C15-3ED5-41BA-8125-0BEB14C26440}"/>
              </a:ext>
            </a:extLst>
          </p:cNvPr>
          <p:cNvSpPr>
            <a:spLocks noGrp="1"/>
          </p:cNvSpPr>
          <p:nvPr>
            <p:ph type="sldNum" sz="quarter" idx="12"/>
          </p:nvPr>
        </p:nvSpPr>
        <p:spPr/>
        <p:txBody>
          <a:bodyPr/>
          <a:lstStyle/>
          <a:p>
            <a:pPr lvl="0"/>
            <a:fld id="{9FDB499F-DC86-4996-A3C7-FCE8E06389C2}" type="slidenum">
              <a:rPr lang="ar-SA" noProof="0" smtClean="0"/>
              <a:pPr lvl="0"/>
              <a:t>10</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قابلية التوسع وحالات الاستخدام الجديدة (3/ 3)</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25" name="Rectangle 24">
            <a:extLst>
              <a:ext uri="{FF2B5EF4-FFF2-40B4-BE49-F238E27FC236}">
                <a16:creationId xmlns:a16="http://schemas.microsoft.com/office/drawing/2014/main" id="{3753DB76-37AB-4ACB-AA4E-0CCAE1CEC46D}"/>
              </a:ext>
            </a:extLst>
          </p:cNvPr>
          <p:cNvSpPr/>
          <p:nvPr/>
        </p:nvSpPr>
        <p:spPr>
          <a:xfrm flipH="1">
            <a:off x="599441" y="3685455"/>
            <a:ext cx="8610600" cy="11856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خطط الشبكة لإدماج التقنيات التنبؤية بهدف مساعدة الباحثين على فهم السيناريوهات المستقبلية المحتملة من خلال عدة أدوات منها التحليلات التنبؤية (ثلاثية الأبعاد)، والنمذجة السكانية الاصطناعية ونمذجة السيناريوهات، ورسم الخرائط المكانية الزمانية </a:t>
            </a:r>
            <a:r>
              <a:rPr lang="ar-EG" sz="1200">
                <a:solidFill>
                  <a:schemeClr val="tx1"/>
                </a:solidFill>
                <a:latin typeface="DIN Next LT Arabic (Body)"/>
                <a:sym typeface="Effra" panose="02000506080000020004" pitchFamily="2" charset="0"/>
              </a:rPr>
              <a:t>و تحويل البيانات إلى صور مرئية</a:t>
            </a:r>
            <a:endParaRPr lang="ar-SA" sz="1200">
              <a:solidFill>
                <a:schemeClr val="tx1"/>
              </a:solidFill>
              <a:latin typeface="DIN Next LT Arabic (Body)"/>
              <a:sym typeface="Effra" panose="02000506080000020004" pitchFamily="2" charset="0"/>
            </a:endParaRPr>
          </a:p>
        </p:txBody>
      </p:sp>
      <p:sp>
        <p:nvSpPr>
          <p:cNvPr id="29" name="Rectangle 28">
            <a:extLst>
              <a:ext uri="{FF2B5EF4-FFF2-40B4-BE49-F238E27FC236}">
                <a16:creationId xmlns:a16="http://schemas.microsoft.com/office/drawing/2014/main" id="{1F2B1434-31F1-41C8-914B-398523B3C443}"/>
              </a:ext>
            </a:extLst>
          </p:cNvPr>
          <p:cNvSpPr/>
          <p:nvPr/>
        </p:nvSpPr>
        <p:spPr>
          <a:xfrm flipH="1">
            <a:off x="9293860" y="3685455"/>
            <a:ext cx="2250440" cy="1185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القدرة التنبؤية</a:t>
            </a:r>
          </a:p>
        </p:txBody>
      </p:sp>
      <p:sp>
        <p:nvSpPr>
          <p:cNvPr id="33" name="Rectangle 32">
            <a:extLst>
              <a:ext uri="{FF2B5EF4-FFF2-40B4-BE49-F238E27FC236}">
                <a16:creationId xmlns:a16="http://schemas.microsoft.com/office/drawing/2014/main" id="{5D44AD5A-2C6C-431C-A6F8-5CD693B0FA9C}"/>
              </a:ext>
            </a:extLst>
          </p:cNvPr>
          <p:cNvSpPr/>
          <p:nvPr/>
        </p:nvSpPr>
        <p:spPr>
          <a:xfrm flipH="1">
            <a:off x="9293860" y="4952950"/>
            <a:ext cx="2250440" cy="1185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 حوكمة قوية للبيانات</a:t>
            </a:r>
          </a:p>
        </p:txBody>
      </p:sp>
      <p:sp>
        <p:nvSpPr>
          <p:cNvPr id="35" name="Rectangle 34">
            <a:extLst>
              <a:ext uri="{FF2B5EF4-FFF2-40B4-BE49-F238E27FC236}">
                <a16:creationId xmlns:a16="http://schemas.microsoft.com/office/drawing/2014/main" id="{54291A5B-415A-4CAB-BAB3-82AF87AE4251}"/>
              </a:ext>
            </a:extLst>
          </p:cNvPr>
          <p:cNvSpPr/>
          <p:nvPr/>
        </p:nvSpPr>
        <p:spPr>
          <a:xfrm flipH="1">
            <a:off x="599441" y="4952950"/>
            <a:ext cx="8610600" cy="11856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i="0" u="none" strike="noStrike" cap="none" normalizeH="0" baseline="0" noProof="0">
                <a:ln>
                  <a:noFill/>
                </a:ln>
                <a:solidFill>
                  <a:schemeClr val="tx1"/>
                </a:solidFill>
                <a:effectLst/>
                <a:uLnTx/>
                <a:uFillTx/>
                <a:latin typeface="DIN Next LT Arabic (Body)"/>
                <a:sym typeface="Effra" panose="02000506080000020004" pitchFamily="2" charset="0"/>
              </a:rPr>
              <a:t>تعمل الشبكة على تطوير أنظمة التراخيص التي تسمح بالاتصال بالإدارات الحكومية الفيدرالية بالإضافة إلى مجموعات البيانات متعددة الجنسيات (مثل شركة إير بي إن بي </a:t>
            </a:r>
            <a:r>
              <a:rPr kumimoji="0" lang="en-US" sz="1200" i="0" u="none" strike="noStrike" cap="none" normalizeH="0" baseline="0" noProof="0">
                <a:ln>
                  <a:noFill/>
                </a:ln>
                <a:solidFill>
                  <a:schemeClr val="tx1"/>
                </a:solidFill>
                <a:effectLst/>
                <a:uLnTx/>
                <a:uFillTx/>
                <a:latin typeface="DIN Next LT Arabic (Body)"/>
                <a:sym typeface="Effra" panose="02000506080000020004" pitchFamily="2" charset="0"/>
              </a:rPr>
              <a:t>AirBnB</a:t>
            </a:r>
            <a:r>
              <a:rPr kumimoji="0" lang="ar-SA" sz="1200" i="0" u="none" strike="noStrike" cap="none" normalizeH="0" baseline="0" noProof="0">
                <a:ln>
                  <a:noFill/>
                </a:ln>
                <a:solidFill>
                  <a:schemeClr val="tx1"/>
                </a:solidFill>
                <a:effectLst/>
                <a:uLnTx/>
                <a:uFillTx/>
                <a:latin typeface="DIN Next LT Arabic (Body)"/>
                <a:sym typeface="Effra" panose="02000506080000020004" pitchFamily="2" charset="0"/>
              </a:rPr>
              <a:t>، وشركة جوجل </a:t>
            </a:r>
            <a:r>
              <a:rPr kumimoji="0" lang="en-US" sz="1200" i="0" u="none" strike="noStrike" cap="none" normalizeH="0" baseline="0" noProof="0">
                <a:ln>
                  <a:noFill/>
                </a:ln>
                <a:solidFill>
                  <a:schemeClr val="tx1"/>
                </a:solidFill>
                <a:effectLst/>
                <a:uLnTx/>
                <a:uFillTx/>
                <a:latin typeface="DIN Next LT Arabic (Body)"/>
                <a:sym typeface="Effra" panose="02000506080000020004" pitchFamily="2" charset="0"/>
              </a:rPr>
              <a:t>Google</a:t>
            </a:r>
            <a:r>
              <a:rPr kumimoji="0" lang="ar-SA" sz="1200" i="0" u="none" strike="noStrike" cap="none" normalizeH="0" baseline="0" noProof="0">
                <a:ln>
                  <a:noFill/>
                </a:ln>
                <a:solidFill>
                  <a:schemeClr val="tx1"/>
                </a:solidFill>
                <a:effectLst/>
                <a:uLnTx/>
                <a:uFillTx/>
                <a:latin typeface="DIN Next LT Arabic (Body)"/>
                <a:sym typeface="Effra" panose="02000506080000020004" pitchFamily="2" charset="0"/>
              </a:rPr>
              <a:t> وغيرهم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i="0" u="none" strike="noStrike" cap="none" normalizeH="0" baseline="0" noProof="0">
                <a:ln>
                  <a:noFill/>
                </a:ln>
                <a:solidFill>
                  <a:schemeClr val="tx1"/>
                </a:solidFill>
                <a:effectLst/>
                <a:uLnTx/>
                <a:uFillTx/>
                <a:latin typeface="DIN Next LT Arabic (Body)"/>
                <a:sym typeface="Effra" panose="02000506080000020004" pitchFamily="2" charset="0"/>
              </a:rPr>
              <a:t>يعد كل من </a:t>
            </a:r>
            <a:r>
              <a:rPr kumimoji="0" lang="ar-SA" sz="1200" b="1" i="0" u="none" strike="noStrike" cap="none" normalizeH="0" baseline="0" noProof="0">
                <a:ln>
                  <a:noFill/>
                </a:ln>
                <a:solidFill>
                  <a:schemeClr val="tx1"/>
                </a:solidFill>
                <a:effectLst/>
                <a:uLnTx/>
                <a:uFillTx/>
                <a:latin typeface="DIN Next LT Arabic (Body)"/>
                <a:sym typeface="Effra" panose="02000506080000020004" pitchFamily="2" charset="0"/>
              </a:rPr>
              <a:t>حشد البيانات والإنتاج المشترك</a:t>
            </a:r>
            <a:r>
              <a:rPr kumimoji="0" lang="ar-SA" sz="1200" i="0" u="none" strike="noStrike" cap="none" normalizeH="0" baseline="0" noProof="0">
                <a:ln>
                  <a:noFill/>
                </a:ln>
                <a:solidFill>
                  <a:schemeClr val="tx1"/>
                </a:solidFill>
                <a:effectLst/>
                <a:uLnTx/>
                <a:uFillTx/>
                <a:latin typeface="DIN Next LT Arabic (Body)"/>
                <a:sym typeface="Effra" panose="02000506080000020004" pitchFamily="2" charset="0"/>
              </a:rPr>
              <a:t> عنصرين أساسيين في المستقبل لدى الشبك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i="0" u="none" strike="noStrike" cap="none" normalizeH="0" baseline="0" noProof="0">
                <a:ln>
                  <a:noFill/>
                </a:ln>
                <a:solidFill>
                  <a:schemeClr val="tx1"/>
                </a:solidFill>
                <a:effectLst/>
                <a:uLnTx/>
                <a:uFillTx/>
                <a:latin typeface="DIN Next LT Arabic (Body)"/>
                <a:sym typeface="Effra" panose="02000506080000020004" pitchFamily="2" charset="0"/>
              </a:rPr>
              <a:t>بدأت </a:t>
            </a:r>
            <a:r>
              <a:rPr kumimoji="0" lang="ar-SA" sz="1200" b="1" i="0" u="none" strike="noStrike" cap="none" normalizeH="0" baseline="0" noProof="0">
                <a:ln>
                  <a:noFill/>
                </a:ln>
                <a:solidFill>
                  <a:schemeClr val="tx1"/>
                </a:solidFill>
                <a:effectLst/>
                <a:uLnTx/>
                <a:uFillTx/>
                <a:latin typeface="DIN Next LT Arabic (Body)"/>
                <a:sym typeface="Effra" panose="02000506080000020004" pitchFamily="2" charset="0"/>
              </a:rPr>
              <a:t>تقنية سلسلة الكتل </a:t>
            </a:r>
            <a:r>
              <a:rPr kumimoji="0" lang="ar-EG" sz="1200" b="1" i="0" u="none" strike="noStrike" cap="none" normalizeH="0" baseline="0" noProof="0">
                <a:ln>
                  <a:noFill/>
                </a:ln>
                <a:solidFill>
                  <a:schemeClr val="tx1"/>
                </a:solidFill>
                <a:effectLst/>
                <a:uLnTx/>
                <a:uFillTx/>
                <a:latin typeface="DIN Next LT Arabic (Body)"/>
                <a:sym typeface="Effra" panose="02000506080000020004" pitchFamily="2" charset="0"/>
              </a:rPr>
              <a:t>(</a:t>
            </a:r>
            <a:r>
              <a:rPr kumimoji="0" lang="en-US" sz="1200" b="1" i="0" u="none" strike="noStrike" cap="none" normalizeH="0" baseline="0" noProof="0">
                <a:ln>
                  <a:noFill/>
                </a:ln>
                <a:solidFill>
                  <a:schemeClr val="tx1"/>
                </a:solidFill>
                <a:effectLst/>
                <a:uLnTx/>
                <a:uFillTx/>
                <a:latin typeface="DIN Next LT Arabic (Body)"/>
                <a:sym typeface="Effra" panose="02000506080000020004" pitchFamily="2" charset="0"/>
              </a:rPr>
              <a:t>Blockchain</a:t>
            </a:r>
            <a:r>
              <a:rPr kumimoji="0" lang="ar-EG" sz="1200" b="1" i="0" u="none" strike="noStrike" cap="none" normalizeH="0" baseline="0" noProof="0">
                <a:ln>
                  <a:noFill/>
                </a:ln>
                <a:solidFill>
                  <a:schemeClr val="tx1"/>
                </a:solidFill>
                <a:effectLst/>
                <a:uLnTx/>
                <a:uFillTx/>
                <a:latin typeface="DIN Next LT Arabic (Body)"/>
                <a:sym typeface="Effra" panose="02000506080000020004" pitchFamily="2" charset="0"/>
              </a:rPr>
              <a:t>) </a:t>
            </a:r>
            <a:r>
              <a:rPr kumimoji="0" lang="ar-SA" sz="1200" i="0" u="none" strike="noStrike" cap="none" normalizeH="0" baseline="0" noProof="0">
                <a:ln>
                  <a:noFill/>
                </a:ln>
                <a:solidFill>
                  <a:schemeClr val="tx1"/>
                </a:solidFill>
                <a:effectLst/>
                <a:uLnTx/>
                <a:uFillTx/>
                <a:latin typeface="DIN Next LT Arabic (Body)"/>
                <a:sym typeface="Effra" panose="02000506080000020004" pitchFamily="2" charset="0"/>
              </a:rPr>
              <a:t>أيضاً في الظهور كحل عملي لمشكلة تخزين البيانات والمصادقة عليها وحمايتها</a:t>
            </a:r>
          </a:p>
        </p:txBody>
      </p:sp>
      <p:sp>
        <p:nvSpPr>
          <p:cNvPr id="42" name="Rectangle 41">
            <a:extLst>
              <a:ext uri="{FF2B5EF4-FFF2-40B4-BE49-F238E27FC236}">
                <a16:creationId xmlns:a16="http://schemas.microsoft.com/office/drawing/2014/main" id="{CA25CC24-C0A1-458F-A675-6898EEAA8A33}"/>
              </a:ext>
            </a:extLst>
          </p:cNvPr>
          <p:cNvSpPr/>
          <p:nvPr/>
        </p:nvSpPr>
        <p:spPr>
          <a:xfrm flipH="1">
            <a:off x="599369" y="2417961"/>
            <a:ext cx="8610672" cy="11856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ستعمل الشبكة خلال السنوات القليلة المقبلة على تطوير قدراتها في التقنيات الناشئة مثل التوائم الرقمية (</a:t>
            </a:r>
            <a:r>
              <a:rPr lang="en-US" sz="1200">
                <a:solidFill>
                  <a:schemeClr val="tx1"/>
                </a:solidFill>
                <a:latin typeface="DIN Next LT Arabic (Body)"/>
                <a:sym typeface="Effra" panose="02000506080000020004" pitchFamily="2" charset="0"/>
              </a:rPr>
              <a:t>digital twins</a:t>
            </a:r>
            <a:r>
              <a:rPr lang="ar-SA" sz="1200">
                <a:solidFill>
                  <a:schemeClr val="tx1"/>
                </a:solidFill>
                <a:latin typeface="DIN Next LT Arabic (Body)"/>
                <a:sym typeface="Effra" panose="02000506080000020004" pitchFamily="2" charset="0"/>
              </a:rPr>
              <a:t>) </a:t>
            </a:r>
            <a:r>
              <a:rPr lang="ar-SA" sz="1200" b="1">
                <a:solidFill>
                  <a:schemeClr val="tx1"/>
                </a:solidFill>
                <a:latin typeface="DIN Next LT Arabic (Body)"/>
                <a:sym typeface="Effra" panose="02000506080000020004" pitchFamily="2" charset="0"/>
              </a:rPr>
              <a:t>لإنترنت الأشياء</a:t>
            </a:r>
            <a:r>
              <a:rPr lang="ar-SA" sz="1200">
                <a:solidFill>
                  <a:schemeClr val="tx1"/>
                </a:solidFill>
                <a:latin typeface="DIN Next LT Arabic (Body)"/>
                <a:sym typeface="Effra" panose="02000506080000020004" pitchFamily="2" charset="0"/>
              </a:rPr>
              <a:t>، ومسارات بيانات أجهزة الاستشعار الفورية (</a:t>
            </a:r>
            <a:r>
              <a:rPr lang="en-US" sz="1200">
                <a:solidFill>
                  <a:schemeClr val="tx1"/>
                </a:solidFill>
                <a:latin typeface="DIN Next LT Arabic (Body)"/>
                <a:sym typeface="Effra" panose="02000506080000020004" pitchFamily="2" charset="0"/>
              </a:rPr>
              <a:t>real-time</a:t>
            </a:r>
            <a:r>
              <a:rPr lang="ar-EG" sz="1200">
                <a:solidFill>
                  <a:schemeClr val="tx1"/>
                </a:solidFill>
                <a:latin typeface="DIN Next LT Arabic (Body)"/>
                <a:sym typeface="Effra" panose="02000506080000020004" pitchFamily="2" charset="0"/>
              </a:rPr>
              <a:t>)</a:t>
            </a:r>
            <a:r>
              <a:rPr lang="ar-SA" sz="1200">
                <a:solidFill>
                  <a:schemeClr val="tx1"/>
                </a:solidFill>
                <a:latin typeface="DIN Next LT Arabic (Body)"/>
                <a:sym typeface="Effra" panose="02000506080000020004" pitchFamily="2" charset="0"/>
              </a:rPr>
              <a:t>، </a:t>
            </a:r>
            <a:r>
              <a:rPr lang="ar-EG" sz="1200">
                <a:solidFill>
                  <a:schemeClr val="tx1"/>
                </a:solidFill>
                <a:latin typeface="DIN Next LT Arabic (Body)"/>
                <a:sym typeface="Effra" panose="02000506080000020004" pitchFamily="2" charset="0"/>
              </a:rPr>
              <a:t>و</a:t>
            </a:r>
            <a:r>
              <a:rPr lang="ar-SA" sz="1200" b="1">
                <a:solidFill>
                  <a:schemeClr val="tx1"/>
                </a:solidFill>
                <a:latin typeface="DIN Next LT Arabic (Body)"/>
                <a:sym typeface="Effra" panose="02000506080000020004" pitchFamily="2" charset="0"/>
              </a:rPr>
              <a:t>التعلم الآلي والذكاء الاصطناعي</a:t>
            </a:r>
            <a:r>
              <a:rPr lang="ar-SA" sz="1200">
                <a:solidFill>
                  <a:schemeClr val="tx1"/>
                </a:solidFill>
                <a:latin typeface="DIN Next LT Arabic (Body)"/>
                <a:sym typeface="Effra" panose="02000506080000020004" pitchFamily="2" charset="0"/>
              </a:rPr>
              <a:t>، والبيانات ثلاثية ورباعية الأبعاد، وبيانات الطائرات بدون طيار وبيانات الأجهزة الضوئية للاستكشاف وتحديد المدى وبيانات الأقمار الصناعية، والبيانات التي يتم جمعها من خلال الأجهزة الشخصية (مثل: الحركة واستخدام البنية التحتية والصحة)</a:t>
            </a:r>
          </a:p>
        </p:txBody>
      </p:sp>
      <p:sp>
        <p:nvSpPr>
          <p:cNvPr id="43" name="Rectangle 42">
            <a:extLst>
              <a:ext uri="{FF2B5EF4-FFF2-40B4-BE49-F238E27FC236}">
                <a16:creationId xmlns:a16="http://schemas.microsoft.com/office/drawing/2014/main" id="{62C0C4ED-B528-42C6-950C-B2F5FF28089A}"/>
              </a:ext>
            </a:extLst>
          </p:cNvPr>
          <p:cNvSpPr/>
          <p:nvPr/>
        </p:nvSpPr>
        <p:spPr>
          <a:xfrm flipH="1">
            <a:off x="9293860" y="2417961"/>
            <a:ext cx="2250440" cy="1185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التقنيات الناشئة</a:t>
            </a:r>
          </a:p>
        </p:txBody>
      </p:sp>
      <p:pic>
        <p:nvPicPr>
          <p:cNvPr id="30" name="Picture 2" descr="AURIN. Australian Urban Research Infrastructure Network">
            <a:extLst>
              <a:ext uri="{FF2B5EF4-FFF2-40B4-BE49-F238E27FC236}">
                <a16:creationId xmlns:a16="http://schemas.microsoft.com/office/drawing/2014/main" id="{C8C804FD-C49B-4CE0-BC55-3484C5E6F264}"/>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Rounded Corners 31">
            <a:extLst>
              <a:ext uri="{FF2B5EF4-FFF2-40B4-BE49-F238E27FC236}">
                <a16:creationId xmlns:a16="http://schemas.microsoft.com/office/drawing/2014/main" id="{7C42C076-6BD1-4FFE-995E-9182F11FB269}"/>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3- التعامل مع البيانات وقابلية التوسع</a:t>
            </a:r>
          </a:p>
        </p:txBody>
      </p:sp>
      <p:sp>
        <p:nvSpPr>
          <p:cNvPr id="26" name="TextBox 25">
            <a:extLst>
              <a:ext uri="{FF2B5EF4-FFF2-40B4-BE49-F238E27FC236}">
                <a16:creationId xmlns:a16="http://schemas.microsoft.com/office/drawing/2014/main" id="{B7EAA40E-94BC-4D09-82B2-CD924D09DDEE}"/>
              </a:ext>
            </a:extLst>
          </p:cNvPr>
          <p:cNvSpPr txBox="1"/>
          <p:nvPr/>
        </p:nvSpPr>
        <p:spPr>
          <a:xfrm>
            <a:off x="9903127"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إجراءات</a:t>
            </a:r>
          </a:p>
        </p:txBody>
      </p:sp>
      <p:cxnSp>
        <p:nvCxnSpPr>
          <p:cNvPr id="27" name="Straight Connector 26">
            <a:extLst>
              <a:ext uri="{FF2B5EF4-FFF2-40B4-BE49-F238E27FC236}">
                <a16:creationId xmlns:a16="http://schemas.microsoft.com/office/drawing/2014/main" id="{2E6835E9-BE05-4464-9B22-D40E33AB2BF7}"/>
              </a:ext>
            </a:extLst>
          </p:cNvPr>
          <p:cNvCxnSpPr>
            <a:cxnSpLocks/>
          </p:cNvCxnSpPr>
          <p:nvPr/>
        </p:nvCxnSpPr>
        <p:spPr>
          <a:xfrm>
            <a:off x="9306598" y="2336276"/>
            <a:ext cx="225850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AB00513-5FBB-4A9B-9AC1-7C20D9A99DD5}"/>
              </a:ext>
            </a:extLst>
          </p:cNvPr>
          <p:cNvSpPr txBox="1"/>
          <p:nvPr/>
        </p:nvSpPr>
        <p:spPr>
          <a:xfrm>
            <a:off x="4285837"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31" name="Straight Connector 30">
            <a:extLst>
              <a:ext uri="{FF2B5EF4-FFF2-40B4-BE49-F238E27FC236}">
                <a16:creationId xmlns:a16="http://schemas.microsoft.com/office/drawing/2014/main" id="{AE97DDA7-C052-4258-B9DB-6139106F3E7E}"/>
              </a:ext>
            </a:extLst>
          </p:cNvPr>
          <p:cNvCxnSpPr>
            <a:cxnSpLocks/>
          </p:cNvCxnSpPr>
          <p:nvPr/>
        </p:nvCxnSpPr>
        <p:spPr>
          <a:xfrm>
            <a:off x="604559" y="2336276"/>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5F3E6870-7BE5-4202-B5DE-6CB1C27F6EE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5732192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5"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8" name="Slide Number Placeholder 4">
            <a:extLst>
              <a:ext uri="{FF2B5EF4-FFF2-40B4-BE49-F238E27FC236}">
                <a16:creationId xmlns:a16="http://schemas.microsoft.com/office/drawing/2014/main" id="{C7CDD0E6-8957-4496-A82E-56078C638D04}"/>
              </a:ext>
            </a:extLst>
          </p:cNvPr>
          <p:cNvSpPr>
            <a:spLocks noGrp="1"/>
          </p:cNvSpPr>
          <p:nvPr>
            <p:ph type="sldNum" sz="quarter" idx="12"/>
          </p:nvPr>
        </p:nvSpPr>
        <p:spPr/>
        <p:txBody>
          <a:bodyPr/>
          <a:lstStyle/>
          <a:p>
            <a:pPr lvl="0"/>
            <a:fld id="{9FDB499F-DC86-4996-A3C7-FCE8E06389C2}" type="slidenum">
              <a:rPr lang="ar-SA" noProof="0" smtClean="0"/>
              <a:pPr lvl="0"/>
              <a:t>11</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بناء مؤشرات أداء رئيسية جديدة للتحليل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62" name="Rectangle 61">
            <a:extLst>
              <a:ext uri="{FF2B5EF4-FFF2-40B4-BE49-F238E27FC236}">
                <a16:creationId xmlns:a16="http://schemas.microsoft.com/office/drawing/2014/main" id="{3648494A-109C-47EE-AA1A-86728FAE6C44}"/>
              </a:ext>
            </a:extLst>
          </p:cNvPr>
          <p:cNvSpPr/>
          <p:nvPr/>
        </p:nvSpPr>
        <p:spPr>
          <a:xfrm flipH="1">
            <a:off x="1072570" y="1425686"/>
            <a:ext cx="10517522" cy="2555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lang="ar-SA" sz="1400">
                <a:solidFill>
                  <a:schemeClr val="tx1"/>
                </a:solidFill>
                <a:latin typeface="DIN Next LT Arabic (Body)"/>
                <a:sym typeface="Effra" panose="02000506080000020004" pitchFamily="2" charset="0"/>
              </a:rPr>
              <a:t>تدعم البنية التحتية الإلكترونية لدى «الشبكة الأسترالية للبنية التحتية للأبحاث الحضرية» العديد من عمليات التعاون البحثية التي يمكن أن تتطور بمرور الوقت، حيث يستطيع الباحثون المساهمة في مجموعة من المبادرات البحثية من خلال البنية التحتية الإلكترونية إضافة إلى المساهمة بآرائهم وأفكارهم في تطويرها</a:t>
            </a:r>
          </a:p>
        </p:txBody>
      </p:sp>
      <p:sp>
        <p:nvSpPr>
          <p:cNvPr id="32" name="Rectangle 31">
            <a:extLst>
              <a:ext uri="{FF2B5EF4-FFF2-40B4-BE49-F238E27FC236}">
                <a16:creationId xmlns:a16="http://schemas.microsoft.com/office/drawing/2014/main" id="{528FD4D9-2880-4591-912D-73569D485F74}"/>
              </a:ext>
            </a:extLst>
          </p:cNvPr>
          <p:cNvSpPr/>
          <p:nvPr/>
        </p:nvSpPr>
        <p:spPr>
          <a:xfrm flipH="1">
            <a:off x="586319" y="2419926"/>
            <a:ext cx="8610672"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عتمد تشغيل البنية المعمارية للشبكة بالكامل على</a:t>
            </a:r>
            <a:r>
              <a:rPr kumimoji="0" lang="ar-SA" sz="11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التقنيات مفتوحة المصدر</a:t>
            </a:r>
            <a:r>
              <a:rPr kumimoji="0" lang="ar-SA" sz="110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يتم استضافتها على مجموعة متنوعة من الأجهزة الافتراضية التي تعمل بنظام التشغيل أبونتو 64 بت</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en-US"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64-bit Ubuntu)</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بالإضافة إلى نشرها في بيئة قائمة على الشبكة (</a:t>
            </a:r>
            <a:r>
              <a:rPr kumimoji="0" lang="en-US"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grid-based</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يح البنية التحتية الإلكترونية بنية معمارية مرنة توفر </a:t>
            </a:r>
            <a:r>
              <a:rPr kumimoji="0" lang="ar-SA" sz="11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يئة بحثية قائمة على البيانات وتضمن هذه البيئة الوصول الآمن إلى مجموعات البيانات الموزعة وغير المتجانسة للغاية</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الواردة من العديد من المؤسسات في الأوساط الحكومية والصناعية والأكاديمية</a:t>
            </a:r>
          </a:p>
        </p:txBody>
      </p:sp>
      <p:sp>
        <p:nvSpPr>
          <p:cNvPr id="33" name="Rectangle 32">
            <a:extLst>
              <a:ext uri="{FF2B5EF4-FFF2-40B4-BE49-F238E27FC236}">
                <a16:creationId xmlns:a16="http://schemas.microsoft.com/office/drawing/2014/main" id="{6251F43C-71E0-4C4A-8B77-BD0A57DB0975}"/>
              </a:ext>
            </a:extLst>
          </p:cNvPr>
          <p:cNvSpPr/>
          <p:nvPr/>
        </p:nvSpPr>
        <p:spPr>
          <a:xfrm flipH="1">
            <a:off x="9280810" y="2419926"/>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البنية التحتية الإلكترونية</a:t>
            </a:r>
          </a:p>
        </p:txBody>
      </p:sp>
      <p:sp>
        <p:nvSpPr>
          <p:cNvPr id="26" name="Rectangle 25">
            <a:extLst>
              <a:ext uri="{FF2B5EF4-FFF2-40B4-BE49-F238E27FC236}">
                <a16:creationId xmlns:a16="http://schemas.microsoft.com/office/drawing/2014/main" id="{1573BDFD-7278-4B90-A60B-49C6A29CC599}"/>
              </a:ext>
            </a:extLst>
          </p:cNvPr>
          <p:cNvSpPr/>
          <p:nvPr/>
        </p:nvSpPr>
        <p:spPr>
          <a:xfrm flipH="1">
            <a:off x="586319" y="3379694"/>
            <a:ext cx="8610672" cy="86494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مجموعة الأدوات والبيانات التي تتألف منها الشبكة يُشار إليها مجتمعة باسم منصة العمل (</a:t>
            </a:r>
            <a:r>
              <a:rPr kumimoji="0" lang="en-US"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workbench</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تم تحقيق ذلك من خلال منصة إلكترونية واسعة توفر للباحثين في المجالات الحضرية ومسؤولي إعداد السياسات واتخاذ القرار وصولاً سلساً وآمناً (عند الحاجة) إلى مجموعة واسعة من البيانات الموزعة (وغير المتجانسة) إضافة إلى </a:t>
            </a:r>
            <a:r>
              <a:rPr kumimoji="0" lang="ar-SA" sz="11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أدوات الداعمة لتحليل البيانات وتحويلها إلى صور مرئ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وصول البرمجي القائم على الويب إلى البيانات الموزعة</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في موقعها الأصلي من الجوانب الأساسية في الحل</a:t>
            </a:r>
          </a:p>
        </p:txBody>
      </p:sp>
      <p:sp>
        <p:nvSpPr>
          <p:cNvPr id="27" name="Rectangle 26">
            <a:extLst>
              <a:ext uri="{FF2B5EF4-FFF2-40B4-BE49-F238E27FC236}">
                <a16:creationId xmlns:a16="http://schemas.microsoft.com/office/drawing/2014/main" id="{BEF5A901-A368-4423-ADA1-C6400A0AFDD5}"/>
              </a:ext>
            </a:extLst>
          </p:cNvPr>
          <p:cNvSpPr/>
          <p:nvPr/>
        </p:nvSpPr>
        <p:spPr>
          <a:xfrm flipH="1">
            <a:off x="9280810" y="3379694"/>
            <a:ext cx="2250440" cy="86494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منصة عمل الشبكة الأسترالية للبنية التحتية للأبحاث الحضرية</a:t>
            </a:r>
          </a:p>
        </p:txBody>
      </p:sp>
      <p:sp>
        <p:nvSpPr>
          <p:cNvPr id="35" name="Rectangle 34">
            <a:extLst>
              <a:ext uri="{FF2B5EF4-FFF2-40B4-BE49-F238E27FC236}">
                <a16:creationId xmlns:a16="http://schemas.microsoft.com/office/drawing/2014/main" id="{27C79545-33A3-49CC-8F61-1B58CF5C0012}"/>
              </a:ext>
            </a:extLst>
          </p:cNvPr>
          <p:cNvSpPr/>
          <p:nvPr/>
        </p:nvSpPr>
        <p:spPr>
          <a:xfrm flipH="1">
            <a:off x="586319" y="4327697"/>
            <a:ext cx="8610672" cy="86494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إحدى السمات الأساسية لمنصة عمل الشبكة هي تنفيذ </a:t>
            </a:r>
            <a:r>
              <a:rPr kumimoji="0" lang="ar-SA" sz="11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مجموعة شاملة من الأدوات الإحصائية لدراسة البيانات المكانية وتحليلها</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الواردة من كل من جهات حفظ البيانات</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البيانات الخاصة بالمستخدمين)</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راوح الأدوات بدءًا من الأدوات الأساسية </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لتحويل</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البيانات </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إلى </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صور مرئية (مثل: رسم خرائط التوزيعات الجغرافية باستخدام التظليل المساحي (</a:t>
            </a:r>
            <a:r>
              <a:rPr kumimoji="0" lang="en-US"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choropleth</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en-US"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والمخططات والرسوم البيانية)، مروراً بالتقنيات الإحصائية التقليدية (الارتباط، والانحدار، وتحليل التباين)، وصولاً إلى الإجراءات الإحصائية المكانية الأكثر تعقيداً (مثل الارتباط التلقائي المكاني، والانحدار الجغرافي المرجح)</a:t>
            </a:r>
          </a:p>
        </p:txBody>
      </p:sp>
      <p:sp>
        <p:nvSpPr>
          <p:cNvPr id="36" name="Rectangle 35">
            <a:extLst>
              <a:ext uri="{FF2B5EF4-FFF2-40B4-BE49-F238E27FC236}">
                <a16:creationId xmlns:a16="http://schemas.microsoft.com/office/drawing/2014/main" id="{86BAFA9C-3A4D-4912-8C45-D9B365B4ADF3}"/>
              </a:ext>
            </a:extLst>
          </p:cNvPr>
          <p:cNvSpPr/>
          <p:nvPr/>
        </p:nvSpPr>
        <p:spPr>
          <a:xfrm flipH="1">
            <a:off x="9280810" y="4327697"/>
            <a:ext cx="2250440" cy="86494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أدوات تحليل البيانات </a:t>
            </a:r>
            <a:br>
              <a:rPr lang="ar-EG" sz="1400"/>
            </a:br>
            <a:r>
              <a:rPr lang="ar-SA" sz="1400"/>
              <a:t>وتحويلها إلى صور مرئية</a:t>
            </a:r>
          </a:p>
        </p:txBody>
      </p:sp>
      <p:sp>
        <p:nvSpPr>
          <p:cNvPr id="39" name="Rectangle 38">
            <a:extLst>
              <a:ext uri="{FF2B5EF4-FFF2-40B4-BE49-F238E27FC236}">
                <a16:creationId xmlns:a16="http://schemas.microsoft.com/office/drawing/2014/main" id="{1039AE94-D232-4418-8D6E-BDC3F6331C45}"/>
              </a:ext>
            </a:extLst>
          </p:cNvPr>
          <p:cNvSpPr/>
          <p:nvPr/>
        </p:nvSpPr>
        <p:spPr>
          <a:xfrm flipH="1">
            <a:off x="586319" y="5275699"/>
            <a:ext cx="8610672" cy="86494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شتمل المتطلبات المهمة التي حددها المجتمع البحثي على دعم اقتران التفاعلات بين مجموعات الخدمات ونقل البيانات بين الخدمات، إضافة إلى دعم ساحة البيانات الآمن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أحد الأهداف الرئيسية للبنية التحتية للشبكة هو دعم محركات التشريع المستهدفة التي تسمح، على سبيل المثال، </a:t>
            </a:r>
            <a:r>
              <a:rPr kumimoji="0" lang="ar-SA" sz="11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تحديد مهام سير عمل الشبكة وإقرارها (بشكل منفصل وجزئي، وربما مع متغيرات إدخال متنوعة)، إضافة إلى تسجيلها ومشاركتها من جانب باحثين آخرين</a:t>
            </a:r>
          </a:p>
        </p:txBody>
      </p:sp>
      <p:sp>
        <p:nvSpPr>
          <p:cNvPr id="40" name="Rectangle 39">
            <a:extLst>
              <a:ext uri="{FF2B5EF4-FFF2-40B4-BE49-F238E27FC236}">
                <a16:creationId xmlns:a16="http://schemas.microsoft.com/office/drawing/2014/main" id="{61BA034C-E0BD-4D07-9564-B5B064840648}"/>
              </a:ext>
            </a:extLst>
          </p:cNvPr>
          <p:cNvSpPr/>
          <p:nvPr/>
        </p:nvSpPr>
        <p:spPr>
          <a:xfrm flipH="1">
            <a:off x="9280810" y="5275699"/>
            <a:ext cx="2250440" cy="86494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مهام سير عمل </a:t>
            </a:r>
            <a:br>
              <a:rPr lang="ar-EG" sz="1400"/>
            </a:br>
            <a:r>
              <a:rPr lang="ar-SA" sz="1400"/>
              <a:t>خدمة دراسة البيانات</a:t>
            </a:r>
          </a:p>
        </p:txBody>
      </p:sp>
      <p:pic>
        <p:nvPicPr>
          <p:cNvPr id="37" name="Picture 2" descr="AURIN. Australian Urban Research Infrastructure Network">
            <a:extLst>
              <a:ext uri="{FF2B5EF4-FFF2-40B4-BE49-F238E27FC236}">
                <a16:creationId xmlns:a16="http://schemas.microsoft.com/office/drawing/2014/main" id="{6D3B9E3E-AA01-4F45-934D-63978357C69C}"/>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Rounded Corners 40">
            <a:extLst>
              <a:ext uri="{FF2B5EF4-FFF2-40B4-BE49-F238E27FC236}">
                <a16:creationId xmlns:a16="http://schemas.microsoft.com/office/drawing/2014/main" id="{771886BF-265E-4318-A01F-79C9621B7E8C}"/>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3- التعامل مع البيانات وقابلية التوسع</a:t>
            </a:r>
          </a:p>
        </p:txBody>
      </p:sp>
      <p:sp>
        <p:nvSpPr>
          <p:cNvPr id="24" name="TextBox 23">
            <a:extLst>
              <a:ext uri="{FF2B5EF4-FFF2-40B4-BE49-F238E27FC236}">
                <a16:creationId xmlns:a16="http://schemas.microsoft.com/office/drawing/2014/main" id="{94317D97-9F40-4513-8580-823DFB7EBD86}"/>
              </a:ext>
            </a:extLst>
          </p:cNvPr>
          <p:cNvSpPr txBox="1"/>
          <p:nvPr/>
        </p:nvSpPr>
        <p:spPr>
          <a:xfrm>
            <a:off x="9884959"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إجراءات</a:t>
            </a:r>
          </a:p>
        </p:txBody>
      </p:sp>
      <p:cxnSp>
        <p:nvCxnSpPr>
          <p:cNvPr id="25" name="Straight Connector 24">
            <a:extLst>
              <a:ext uri="{FF2B5EF4-FFF2-40B4-BE49-F238E27FC236}">
                <a16:creationId xmlns:a16="http://schemas.microsoft.com/office/drawing/2014/main" id="{3431BB28-B5D6-4068-882A-6B70783668F9}"/>
              </a:ext>
            </a:extLst>
          </p:cNvPr>
          <p:cNvCxnSpPr>
            <a:cxnSpLocks/>
          </p:cNvCxnSpPr>
          <p:nvPr/>
        </p:nvCxnSpPr>
        <p:spPr>
          <a:xfrm>
            <a:off x="9288430" y="2336276"/>
            <a:ext cx="225850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AA47FE8F-ED9A-4A8C-AF4C-C3A8925E1C7C}"/>
              </a:ext>
            </a:extLst>
          </p:cNvPr>
          <p:cNvSpPr txBox="1"/>
          <p:nvPr/>
        </p:nvSpPr>
        <p:spPr>
          <a:xfrm>
            <a:off x="4267669"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31" name="Straight Connector 30">
            <a:extLst>
              <a:ext uri="{FF2B5EF4-FFF2-40B4-BE49-F238E27FC236}">
                <a16:creationId xmlns:a16="http://schemas.microsoft.com/office/drawing/2014/main" id="{AC74E60F-1FB7-4DC9-87E3-A7D6760E7D5C}"/>
              </a:ext>
            </a:extLst>
          </p:cNvPr>
          <p:cNvCxnSpPr>
            <a:cxnSpLocks/>
          </p:cNvCxnSpPr>
          <p:nvPr/>
        </p:nvCxnSpPr>
        <p:spPr>
          <a:xfrm>
            <a:off x="586391" y="2336276"/>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0C26822A-9B3C-46FC-83EB-B0305DB07E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5090511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204387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9"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6" name="Slide Number Placeholder 4">
            <a:extLst>
              <a:ext uri="{FF2B5EF4-FFF2-40B4-BE49-F238E27FC236}">
                <a16:creationId xmlns:a16="http://schemas.microsoft.com/office/drawing/2014/main" id="{EE19A946-FD83-4F31-B417-B600474D266A}"/>
              </a:ext>
            </a:extLst>
          </p:cNvPr>
          <p:cNvSpPr>
            <a:spLocks noGrp="1"/>
          </p:cNvSpPr>
          <p:nvPr>
            <p:ph type="sldNum" sz="quarter" idx="12"/>
          </p:nvPr>
        </p:nvSpPr>
        <p:spPr/>
        <p:txBody>
          <a:bodyPr/>
          <a:lstStyle/>
          <a:p>
            <a:pPr lvl="0"/>
            <a:fld id="{9FDB499F-DC86-4996-A3C7-FCE8E06389C2}" type="slidenum">
              <a:rPr lang="ar-SA" noProof="0" smtClean="0"/>
              <a:pPr lvl="0"/>
              <a:t>12</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التعامل مع كميات كبيرة من البيانات (1/ 3)</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40" name="Rectangle 39">
            <a:extLst>
              <a:ext uri="{FF2B5EF4-FFF2-40B4-BE49-F238E27FC236}">
                <a16:creationId xmlns:a16="http://schemas.microsoft.com/office/drawing/2014/main" id="{9906758A-4C75-46F9-8943-12E2191ACB19}"/>
              </a:ext>
            </a:extLst>
          </p:cNvPr>
          <p:cNvSpPr/>
          <p:nvPr/>
        </p:nvSpPr>
        <p:spPr>
          <a:xfrm flipH="1">
            <a:off x="1072570" y="1425686"/>
            <a:ext cx="10517522" cy="2555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lang="ar-SA" sz="1400">
                <a:solidFill>
                  <a:schemeClr val="tx1"/>
                </a:solidFill>
                <a:latin typeface="DIN Next LT Arabic (Body)"/>
                <a:sym typeface="Effra" panose="02000506080000020004" pitchFamily="2" charset="0"/>
              </a:rPr>
              <a:t>«الشبكة الأسترالية للبنية التحتية للأبحاث الحضرية» هي بيئة افتراضية قائمة على الويب وتوفر وصولاً آمناً إلى مجموعات بيانات متنوعة وموزعة وغير متجانسة، وتجمع الشبكة بين البيانات الواردة من </a:t>
            </a:r>
            <a:r>
              <a:rPr lang="ar-EG" sz="1400">
                <a:solidFill>
                  <a:schemeClr val="tx1"/>
                </a:solidFill>
                <a:latin typeface="DIN Next LT Arabic (Body)"/>
                <a:sym typeface="Effra" panose="02000506080000020004" pitchFamily="2" charset="0"/>
              </a:rPr>
              <a:t>عدة جهات مختلفة</a:t>
            </a:r>
            <a:r>
              <a:rPr lang="ar-SA" sz="1400">
                <a:solidFill>
                  <a:schemeClr val="tx1"/>
                </a:solidFill>
                <a:latin typeface="DIN Next LT Arabic (Body)"/>
                <a:sym typeface="Effra" panose="02000506080000020004" pitchFamily="2" charset="0"/>
              </a:rPr>
              <a:t> كما توفر الأدوات لتحليل البيانات وتحويلها إلى صور مرئية</a:t>
            </a:r>
          </a:p>
        </p:txBody>
      </p:sp>
      <p:sp>
        <p:nvSpPr>
          <p:cNvPr id="31" name="Rectangle 30">
            <a:extLst>
              <a:ext uri="{FF2B5EF4-FFF2-40B4-BE49-F238E27FC236}">
                <a16:creationId xmlns:a16="http://schemas.microsoft.com/office/drawing/2014/main" id="{10B0F8BD-3D9E-4B9E-8B39-4A6874B4BF45}"/>
              </a:ext>
            </a:extLst>
          </p:cNvPr>
          <p:cNvSpPr/>
          <p:nvPr/>
        </p:nvSpPr>
        <p:spPr>
          <a:xfrm flipH="1">
            <a:off x="586319" y="2419336"/>
            <a:ext cx="8610672" cy="1033279"/>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أتي واجهة المستخدم في صورة بوابة بحثية مستهدفة توفر </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وصولاً سلساً وآمناً إلى جميع مجموعات البيانات والأدوات</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عن طريق نقطة وصول واحد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ستفيد واجهة المستخدم بشكل مكثف من مجموعة من مكتبات جافا سكريبت بما يشمل التنسيقات وأطر العمل التالية: </a:t>
            </a:r>
            <a:r>
              <a:rPr kumimoji="0" lang="en-US"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Ext.js</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a:t>
            </a:r>
            <a:r>
              <a:rPr kumimoji="0" lang="en-US"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Processing.js</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 </a:t>
            </a:r>
            <a:r>
              <a:rPr kumimoji="0" lang="en-US"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Node.js</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a:t>
            </a:r>
            <a:r>
              <a:rPr kumimoji="0" lang="en-US"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jax</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م عمليات وصول المستخدم إلى بيئة الشبكة من خلال مستعرض ويب، أي </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لا توجد متطلبات برمجية من جانب العميل</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خدمة فيكتور تايل (</a:t>
            </a:r>
            <a:r>
              <a:rPr kumimoji="0" lang="en-US"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Vector Tile</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هي عبارة عن خادم خرائط يوفر الدعم بإنشاء لوحات المتجهات (</a:t>
            </a:r>
            <a:r>
              <a:rPr kumimoji="0" lang="en-US"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vector tiling</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للبنية التحتية بهدف تقديم عرض سريع للخرائط الطبوغرافية في واجهة المستخدم</a:t>
            </a:r>
          </a:p>
        </p:txBody>
      </p:sp>
      <p:sp>
        <p:nvSpPr>
          <p:cNvPr id="32" name="Rectangle 31">
            <a:extLst>
              <a:ext uri="{FF2B5EF4-FFF2-40B4-BE49-F238E27FC236}">
                <a16:creationId xmlns:a16="http://schemas.microsoft.com/office/drawing/2014/main" id="{408FB781-2EE8-4596-8577-E1BE3E06BF0B}"/>
              </a:ext>
            </a:extLst>
          </p:cNvPr>
          <p:cNvSpPr/>
          <p:nvPr/>
        </p:nvSpPr>
        <p:spPr>
          <a:xfrm flipH="1">
            <a:off x="9280810" y="2419336"/>
            <a:ext cx="2250440" cy="1033279"/>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واجهة المستخدم</a:t>
            </a:r>
          </a:p>
        </p:txBody>
      </p:sp>
      <p:sp>
        <p:nvSpPr>
          <p:cNvPr id="38" name="Rectangle 37">
            <a:extLst>
              <a:ext uri="{FF2B5EF4-FFF2-40B4-BE49-F238E27FC236}">
                <a16:creationId xmlns:a16="http://schemas.microsoft.com/office/drawing/2014/main" id="{60D5142C-D6ED-49ED-868E-88C5BE0A92CC}"/>
              </a:ext>
            </a:extLst>
          </p:cNvPr>
          <p:cNvSpPr/>
          <p:nvPr/>
        </p:nvSpPr>
        <p:spPr>
          <a:xfrm flipH="1">
            <a:off x="586319" y="3535680"/>
            <a:ext cx="8610672" cy="70895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عمل خدمة الأجهزة الطرفية </a:t>
            </a:r>
            <a:r>
              <a:rPr kumimoji="0" lang="ar-EG"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en-US"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edge service</a:t>
            </a:r>
            <a:r>
              <a:rPr kumimoji="0" lang="ar-EG"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على توفير ودعم الدقة الشديدة في عمليتي المصادقة والتخويل - بالاستفادة من </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معلومات أنظمة التحكم بالوصول الاتحادي </a:t>
            </a:r>
            <a:r>
              <a:rPr kumimoji="0" lang="ar-EG"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en-US"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federated access</a:t>
            </a:r>
            <a:r>
              <a:rPr kumimoji="0" lang="ar-EG"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تي يوفرها «اتحاد الوصول الأسترالي»</a:t>
            </a:r>
            <a:r>
              <a:rPr kumimoji="0" lang="ar-EG"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وتعتمد الخدمة على تقنية</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أباتشي شيرو (</a:t>
            </a:r>
            <a:r>
              <a:rPr kumimoji="0" lang="en-US"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pache Shiro</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ar-SA" sz="105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شتمل العناصر الرئيسية لعمل الشبكة على توفير الوصول البرمجي إلى مجموعات البيانات المتنوعة التي لا تكون متاحة إلا لدى الجهات الحكومية والخاصة.</a:t>
            </a:r>
          </a:p>
        </p:txBody>
      </p:sp>
      <p:sp>
        <p:nvSpPr>
          <p:cNvPr id="39" name="Rectangle 38">
            <a:extLst>
              <a:ext uri="{FF2B5EF4-FFF2-40B4-BE49-F238E27FC236}">
                <a16:creationId xmlns:a16="http://schemas.microsoft.com/office/drawing/2014/main" id="{61191131-BF36-42CD-A517-1EB2072114A2}"/>
              </a:ext>
            </a:extLst>
          </p:cNvPr>
          <p:cNvSpPr/>
          <p:nvPr/>
        </p:nvSpPr>
        <p:spPr>
          <a:xfrm flipH="1">
            <a:off x="9280810" y="3535680"/>
            <a:ext cx="2250440" cy="70895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المصادقة والتخويل</a:t>
            </a:r>
          </a:p>
        </p:txBody>
      </p:sp>
      <p:sp>
        <p:nvSpPr>
          <p:cNvPr id="43" name="Rectangle 42">
            <a:extLst>
              <a:ext uri="{FF2B5EF4-FFF2-40B4-BE49-F238E27FC236}">
                <a16:creationId xmlns:a16="http://schemas.microsoft.com/office/drawing/2014/main" id="{B9AE7E5E-5491-4A0C-B12B-1F2BB13E54AC}"/>
              </a:ext>
            </a:extLst>
          </p:cNvPr>
          <p:cNvSpPr/>
          <p:nvPr/>
        </p:nvSpPr>
        <p:spPr>
          <a:xfrm flipH="1">
            <a:off x="586319" y="4327697"/>
            <a:ext cx="8610672" cy="86494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تم ربط بوابة الشبكة ب</a:t>
            </a:r>
            <a:r>
              <a:rPr kumimoji="0" lang="ar-EG" sz="105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ـ «اتحاد الوصول الأسترالي»</a:t>
            </a:r>
            <a:r>
              <a:rPr kumimoji="0" lang="ar-SA" sz="105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إضافة إلى إتاحتها من خلال هذا الاتحاد بهدف دعم </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مصادقة الاتحادية (</a:t>
            </a:r>
            <a:r>
              <a:rPr kumimoji="0" lang="en-US"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federated authentication</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وفر البنية المعمارية الموجهة نحو الخدمة وظائف للواجهة الأمامية الرسومية القائمة على مدخل ويب الخاصة </a:t>
            </a:r>
            <a:r>
              <a:rPr kumimoji="0" lang="ar-EG"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بوابة الشبكة </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ستناداً إلى </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موارد الاتحادية </a:t>
            </a:r>
            <a:r>
              <a:rPr kumimoji="0" lang="ar-EG"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en-US"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federated resources</a:t>
            </a:r>
            <a:r>
              <a:rPr kumimoji="0" lang="ar-EG"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استخدام خدمات الويب</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المتوفرة عن طريق بروتوكول لغة ترميز النص الفائق (</a:t>
            </a:r>
            <a:r>
              <a:rPr kumimoji="0" lang="en-US"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HTML</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والتي تعتمد على البروتوكول المبسط للوصول إلى الكائنات (</a:t>
            </a:r>
            <a:r>
              <a:rPr kumimoji="0" lang="en-US"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SOAP</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بروتوكول نقل الحالة التمثيلية (</a:t>
            </a:r>
            <a:r>
              <a:rPr kumimoji="0" lang="en-US"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REST</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p>
        </p:txBody>
      </p:sp>
      <p:sp>
        <p:nvSpPr>
          <p:cNvPr id="44" name="Rectangle 43">
            <a:extLst>
              <a:ext uri="{FF2B5EF4-FFF2-40B4-BE49-F238E27FC236}">
                <a16:creationId xmlns:a16="http://schemas.microsoft.com/office/drawing/2014/main" id="{4A328B34-EBEF-43C2-832F-74CE94603DD5}"/>
              </a:ext>
            </a:extLst>
          </p:cNvPr>
          <p:cNvSpPr/>
          <p:nvPr/>
        </p:nvSpPr>
        <p:spPr>
          <a:xfrm flipH="1">
            <a:off x="9280810" y="4327697"/>
            <a:ext cx="2250440" cy="86494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إطار عمل تعاوني وآمن</a:t>
            </a:r>
          </a:p>
        </p:txBody>
      </p:sp>
      <p:sp>
        <p:nvSpPr>
          <p:cNvPr id="45" name="Rectangle 44">
            <a:extLst>
              <a:ext uri="{FF2B5EF4-FFF2-40B4-BE49-F238E27FC236}">
                <a16:creationId xmlns:a16="http://schemas.microsoft.com/office/drawing/2014/main" id="{D792CBE6-4B2C-4386-B7D8-C60908A74A44}"/>
              </a:ext>
            </a:extLst>
          </p:cNvPr>
          <p:cNvSpPr/>
          <p:nvPr/>
        </p:nvSpPr>
        <p:spPr>
          <a:xfrm flipH="1">
            <a:off x="586319" y="5275699"/>
            <a:ext cx="8610672" cy="86494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عتمد عمليتي الوصول الفعلي إلى البيانات وتسليمها في الشبكة على واجهات متفق عليها لمجموعات بيانات وخدمات معروف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النسبة للسيناريوهات الموجهة نحو الأمن، </a:t>
            </a: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لا يتاح للمستخدمين النهائيين الوصول إلى مجموعات البيانات الخاصة بموفر البيانات بشكل مباشر</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من خلال البوابة الإلكترونية. إذ أن هذه البيانات تقتصر على التحليل فقط من خلال مجموعة محددة مسبقاً مكونة من أدوات مستهدفة </a:t>
            </a:r>
            <a:r>
              <a:rPr kumimoji="0" lang="ar-EG"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وتوفر </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واجهات محددة جيداً يمكن من خلالها معالجة البيانات وتحليله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يقتصر عرض البيانات على المستخدمين على المتغيرات المتاحة في مجموعة بيانات معينة</a:t>
            </a:r>
            <a:r>
              <a:rPr kumimoji="0" lang="ar-EG" sz="10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SA" sz="10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فلا يُسمح بعرض البيانات الأساسية نفسها على المستخدمين</a:t>
            </a:r>
          </a:p>
        </p:txBody>
      </p:sp>
      <p:sp>
        <p:nvSpPr>
          <p:cNvPr id="46" name="Rectangle 45">
            <a:extLst>
              <a:ext uri="{FF2B5EF4-FFF2-40B4-BE49-F238E27FC236}">
                <a16:creationId xmlns:a16="http://schemas.microsoft.com/office/drawing/2014/main" id="{E9D7513E-2EF7-4096-9321-F101201AFCE4}"/>
              </a:ext>
            </a:extLst>
          </p:cNvPr>
          <p:cNvSpPr/>
          <p:nvPr/>
        </p:nvSpPr>
        <p:spPr>
          <a:xfrm flipH="1">
            <a:off x="9280810" y="5275699"/>
            <a:ext cx="2250440" cy="86494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الوصول إلى البيانات وتسليمها</a:t>
            </a:r>
          </a:p>
        </p:txBody>
      </p:sp>
      <p:pic>
        <p:nvPicPr>
          <p:cNvPr id="28" name="Picture 2" descr="AURIN. Australian Urban Research Infrastructure Network">
            <a:extLst>
              <a:ext uri="{FF2B5EF4-FFF2-40B4-BE49-F238E27FC236}">
                <a16:creationId xmlns:a16="http://schemas.microsoft.com/office/drawing/2014/main" id="{88CC9188-93E1-4CDE-8CD4-E577FA1131A6}"/>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Rounded Corners 36">
            <a:extLst>
              <a:ext uri="{FF2B5EF4-FFF2-40B4-BE49-F238E27FC236}">
                <a16:creationId xmlns:a16="http://schemas.microsoft.com/office/drawing/2014/main" id="{5B618A6F-B7D9-4ED0-8DEC-BEC3FC5103F6}"/>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3- التعامل مع البيانات وقابلية التوسع</a:t>
            </a:r>
          </a:p>
        </p:txBody>
      </p:sp>
      <p:sp>
        <p:nvSpPr>
          <p:cNvPr id="24" name="TextBox 23">
            <a:extLst>
              <a:ext uri="{FF2B5EF4-FFF2-40B4-BE49-F238E27FC236}">
                <a16:creationId xmlns:a16="http://schemas.microsoft.com/office/drawing/2014/main" id="{84CE496A-4AFC-43FD-AB03-C34A2BC30EB8}"/>
              </a:ext>
            </a:extLst>
          </p:cNvPr>
          <p:cNvSpPr txBox="1"/>
          <p:nvPr/>
        </p:nvSpPr>
        <p:spPr>
          <a:xfrm>
            <a:off x="9890493"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إجراءات</a:t>
            </a:r>
          </a:p>
        </p:txBody>
      </p:sp>
      <p:cxnSp>
        <p:nvCxnSpPr>
          <p:cNvPr id="25" name="Straight Connector 24">
            <a:extLst>
              <a:ext uri="{FF2B5EF4-FFF2-40B4-BE49-F238E27FC236}">
                <a16:creationId xmlns:a16="http://schemas.microsoft.com/office/drawing/2014/main" id="{151D2D06-3B43-49A5-AEB5-72BA501D13EF}"/>
              </a:ext>
            </a:extLst>
          </p:cNvPr>
          <p:cNvCxnSpPr>
            <a:cxnSpLocks/>
          </p:cNvCxnSpPr>
          <p:nvPr/>
        </p:nvCxnSpPr>
        <p:spPr>
          <a:xfrm>
            <a:off x="9293964" y="2336276"/>
            <a:ext cx="225850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627C380-1A21-47D2-A802-AEE264EE24A9}"/>
              </a:ext>
            </a:extLst>
          </p:cNvPr>
          <p:cNvSpPr txBox="1"/>
          <p:nvPr/>
        </p:nvSpPr>
        <p:spPr>
          <a:xfrm>
            <a:off x="4273203"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27" name="Straight Connector 26">
            <a:extLst>
              <a:ext uri="{FF2B5EF4-FFF2-40B4-BE49-F238E27FC236}">
                <a16:creationId xmlns:a16="http://schemas.microsoft.com/office/drawing/2014/main" id="{ABFF6BF7-ABEF-47B4-A3B4-C5879A8F8E5A}"/>
              </a:ext>
            </a:extLst>
          </p:cNvPr>
          <p:cNvCxnSpPr>
            <a:cxnSpLocks/>
          </p:cNvCxnSpPr>
          <p:nvPr/>
        </p:nvCxnSpPr>
        <p:spPr>
          <a:xfrm>
            <a:off x="591925" y="2336276"/>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7720E0C8-F8A8-4913-9A9D-D95E1F750CF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819006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2107875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3"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4" name="Slide Number Placeholder 4">
            <a:extLst>
              <a:ext uri="{FF2B5EF4-FFF2-40B4-BE49-F238E27FC236}">
                <a16:creationId xmlns:a16="http://schemas.microsoft.com/office/drawing/2014/main" id="{D59096D9-2991-4F6B-9E97-71E1550CCA0A}"/>
              </a:ext>
            </a:extLst>
          </p:cNvPr>
          <p:cNvSpPr>
            <a:spLocks noGrp="1"/>
          </p:cNvSpPr>
          <p:nvPr>
            <p:ph type="sldNum" sz="quarter" idx="12"/>
          </p:nvPr>
        </p:nvSpPr>
        <p:spPr/>
        <p:txBody>
          <a:bodyPr/>
          <a:lstStyle/>
          <a:p>
            <a:pPr lvl="0"/>
            <a:fld id="{9FDB499F-DC86-4996-A3C7-FCE8E06389C2}" type="slidenum">
              <a:rPr lang="ar-SA" noProof="0" smtClean="0"/>
              <a:pPr lvl="0"/>
              <a:t>13</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التعامل مع كميات كبيرة من البيانات (2/ 3)</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32" name="Rectangle 31">
            <a:extLst>
              <a:ext uri="{FF2B5EF4-FFF2-40B4-BE49-F238E27FC236}">
                <a16:creationId xmlns:a16="http://schemas.microsoft.com/office/drawing/2014/main" id="{205DAD92-21A7-45B3-8EB1-1BD8D819F5A6}"/>
              </a:ext>
            </a:extLst>
          </p:cNvPr>
          <p:cNvSpPr/>
          <p:nvPr/>
        </p:nvSpPr>
        <p:spPr>
          <a:xfrm flipH="1">
            <a:off x="586319" y="2419337"/>
            <a:ext cx="8610672" cy="87729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تيح نظام تسجيل البيانات </a:t>
            </a:r>
            <a:r>
              <a:rPr kumimoji="0" lang="ar-SA"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تسجيل المرن لمصادر البيانات</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مجموعات بيانات الأعضاء، والمتغيرات الفردية الخاصة بهم، بما يشمل البيانات التعريفية الوصفية مثل المعلمات المتغيرة التي تمك</a:t>
            </a:r>
            <a:r>
              <a:rPr kumimoji="0" lang="ar-EG"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ن مهام سير العمل التحليلي</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عمل الشبكة على </a:t>
            </a:r>
            <a:r>
              <a:rPr kumimoji="0" lang="ar-SA"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شغيل محرك للبحث عن السجلات المخزنة في مخزن مرن لترميز الكائنات بلغة جافا سكريبت </a:t>
            </a:r>
            <a:r>
              <a:rPr kumimoji="0" lang="en-US"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JSON</a:t>
            </a:r>
            <a:r>
              <a:rPr kumimoji="0" lang="ar-SA"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قاعدة بيانات مونجو دي بي </a:t>
            </a:r>
            <a:r>
              <a:rPr kumimoji="0" lang="en-US"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MongoDB</a:t>
            </a:r>
            <a:r>
              <a:rPr kumimoji="0" lang="ar-SA"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هدف دعم الاستكشاف المكاني للمتغيرات القائم على الكلمات المفتاحية بما يتماشى مع احتياجات المستخد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دعم </a:t>
            </a:r>
            <a:r>
              <a:rPr kumimoji="0" lang="ar-EG"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محرك</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البحثي إمكانية البحث باستخدام الكلمات المفتاحية بما يشمل نسب المطابقة التقريبية (</a:t>
            </a:r>
            <a:r>
              <a:rPr kumimoji="0" lang="en-US"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fuzzy matching</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في جميع السجلات ذات الصلة بمجموعات البيانات</a:t>
            </a:r>
          </a:p>
        </p:txBody>
      </p:sp>
      <p:sp>
        <p:nvSpPr>
          <p:cNvPr id="33" name="Rectangle 32">
            <a:extLst>
              <a:ext uri="{FF2B5EF4-FFF2-40B4-BE49-F238E27FC236}">
                <a16:creationId xmlns:a16="http://schemas.microsoft.com/office/drawing/2014/main" id="{2203EBFF-4337-4E8F-9CB9-6B1C61EAE8D0}"/>
              </a:ext>
            </a:extLst>
          </p:cNvPr>
          <p:cNvSpPr/>
          <p:nvPr/>
        </p:nvSpPr>
        <p:spPr>
          <a:xfrm flipH="1">
            <a:off x="9280810" y="2419337"/>
            <a:ext cx="2250440" cy="87729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نظام تسجيل البيانات</a:t>
            </a:r>
          </a:p>
        </p:txBody>
      </p:sp>
      <p:sp>
        <p:nvSpPr>
          <p:cNvPr id="37" name="Rectangle 36">
            <a:extLst>
              <a:ext uri="{FF2B5EF4-FFF2-40B4-BE49-F238E27FC236}">
                <a16:creationId xmlns:a16="http://schemas.microsoft.com/office/drawing/2014/main" id="{09E433D3-D625-41A6-B945-536CCAF6A8F6}"/>
              </a:ext>
            </a:extLst>
          </p:cNvPr>
          <p:cNvSpPr/>
          <p:nvPr/>
        </p:nvSpPr>
        <p:spPr>
          <a:xfrm flipH="1">
            <a:off x="586319" y="3379694"/>
            <a:ext cx="8610672" cy="978946"/>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بع الشبكة </a:t>
            </a:r>
            <a:r>
              <a:rPr kumimoji="0" lang="ar-SA"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نية </a:t>
            </a:r>
            <a:r>
              <a:rPr kumimoji="0" lang="ar-EG"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يانات اتحادية </a:t>
            </a:r>
            <a:r>
              <a:rPr kumimoji="0" lang="en-US"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federated data architecture)</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مما يعني أن البيانات لا يتم طلبها من المصدر الأصلي إلا عند </a:t>
            </a:r>
            <a:r>
              <a:rPr kumimoji="0" lang="ar-EG"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حاجة</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فيما يلي الأسباب التي أدت إلى إعداد هذا الهيكل الموزّع:</a:t>
            </a:r>
          </a:p>
          <a:p>
            <a:pPr marR="0" lvl="1" indent="-171450" algn="r" defTabSz="914400" rtl="1" eaLnBrk="1" fontAlgn="auto" latinLnBrk="0" hangingPunct="1">
              <a:lnSpc>
                <a:spcPct val="100000"/>
              </a:lnSpc>
              <a:spcBef>
                <a:spcPts val="0"/>
              </a:spcBef>
              <a:spcAft>
                <a:spcPts val="0"/>
              </a:spcAft>
              <a:buClrTx/>
              <a:buSzTx/>
              <a:buFontTx/>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لا يحتاج مطورو الشبكة إلى فهم جميع مجموعات البيانات إذا تمت استضافتها خارجياً</a:t>
            </a:r>
          </a:p>
          <a:p>
            <a:pPr marR="0" lvl="1" indent="-171450" algn="r" defTabSz="914400" rtl="1" eaLnBrk="1" fontAlgn="auto" latinLnBrk="0" hangingPunct="1">
              <a:lnSpc>
                <a:spcPct val="100000"/>
              </a:lnSpc>
              <a:spcBef>
                <a:spcPts val="0"/>
              </a:spcBef>
              <a:spcAft>
                <a:spcPts val="0"/>
              </a:spcAft>
              <a:buClrTx/>
              <a:buSzTx/>
              <a:buFontTx/>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مكن زيادة تخصيص موارد الحوسبة نحو </a:t>
            </a:r>
            <a:r>
              <a:rPr kumimoji="0" lang="ar-EG"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حليل البيانات وتحويلها إلى صور مرئية </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دلاً من تخصيصها لاستضافة البيانات</a:t>
            </a:r>
          </a:p>
          <a:p>
            <a:pPr marR="0" lvl="1" indent="-171450" algn="r" defTabSz="914400" rtl="1" eaLnBrk="1" fontAlgn="auto" latinLnBrk="0" hangingPunct="1">
              <a:lnSpc>
                <a:spcPct val="100000"/>
              </a:lnSpc>
              <a:spcBef>
                <a:spcPts val="0"/>
              </a:spcBef>
              <a:spcAft>
                <a:spcPts val="0"/>
              </a:spcAft>
              <a:buClrTx/>
              <a:buSzTx/>
              <a:buFontTx/>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خضع التغييرات في مجموعات البيانات إلى التحديث الآلي من جانب موفر البيانات</a:t>
            </a:r>
          </a:p>
          <a:p>
            <a:pPr marR="0" lvl="1" indent="-171450" algn="r" defTabSz="914400" rtl="1" eaLnBrk="1" fontAlgn="auto" latinLnBrk="0" hangingPunct="1">
              <a:lnSpc>
                <a:spcPct val="100000"/>
              </a:lnSpc>
              <a:spcBef>
                <a:spcPts val="0"/>
              </a:spcBef>
              <a:spcAft>
                <a:spcPts val="0"/>
              </a:spcAft>
              <a:buClrTx/>
              <a:buSzTx/>
              <a:buFontTx/>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ستفيد كل من المستخدمين والجهات الموفرة للبيانات من مزايا الحوسبة السحابية</a:t>
            </a:r>
          </a:p>
        </p:txBody>
      </p:sp>
      <p:sp>
        <p:nvSpPr>
          <p:cNvPr id="38" name="Rectangle 37">
            <a:extLst>
              <a:ext uri="{FF2B5EF4-FFF2-40B4-BE49-F238E27FC236}">
                <a16:creationId xmlns:a16="http://schemas.microsoft.com/office/drawing/2014/main" id="{CB545862-87ED-45A9-88CB-0E26DD026E8E}"/>
              </a:ext>
            </a:extLst>
          </p:cNvPr>
          <p:cNvSpPr/>
          <p:nvPr/>
        </p:nvSpPr>
        <p:spPr>
          <a:xfrm flipH="1">
            <a:off x="9280810" y="3379694"/>
            <a:ext cx="2250440" cy="97894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استضافة البيانات</a:t>
            </a:r>
          </a:p>
        </p:txBody>
      </p:sp>
      <p:sp>
        <p:nvSpPr>
          <p:cNvPr id="39" name="Rectangle 38">
            <a:extLst>
              <a:ext uri="{FF2B5EF4-FFF2-40B4-BE49-F238E27FC236}">
                <a16:creationId xmlns:a16="http://schemas.microsoft.com/office/drawing/2014/main" id="{C0096AE4-D861-4C4E-B1F4-4C66CEA78798}"/>
              </a:ext>
            </a:extLst>
          </p:cNvPr>
          <p:cNvSpPr/>
          <p:nvPr/>
        </p:nvSpPr>
        <p:spPr>
          <a:xfrm flipH="1">
            <a:off x="586319" y="4441701"/>
            <a:ext cx="8610672" cy="80456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b="0" i="0" u="none" strike="noStrike" cap="none" normalizeH="0" baseline="0" noProof="0">
                <a:ln>
                  <a:noFill/>
                </a:ln>
                <a:solidFill>
                  <a:srgbClr val="282560"/>
                </a:solidFill>
                <a:effectLst/>
                <a:uLnTx/>
                <a:uFillTx/>
                <a:latin typeface="DIN Next LT Arabic"/>
                <a:ea typeface="+mn-ea"/>
                <a:cs typeface="+mn-cs"/>
              </a:rPr>
              <a:t>تتم استضافة غالبية </a:t>
            </a:r>
            <a:r>
              <a:rPr kumimoji="0" lang="ar-SA" sz="1000" b="1" i="0" u="none" strike="noStrike" cap="none" normalizeH="0" baseline="0" noProof="0">
                <a:ln>
                  <a:noFill/>
                </a:ln>
                <a:solidFill>
                  <a:srgbClr val="282560"/>
                </a:solidFill>
                <a:effectLst/>
                <a:uLnTx/>
                <a:uFillTx/>
                <a:latin typeface="DIN Next LT Arabic"/>
                <a:ea typeface="+mn-ea"/>
                <a:cs typeface="+mn-cs"/>
              </a:rPr>
              <a:t>مصادر البيانات المحلية على نظام إدارة قواعد البيانات بوستجري إس كيو إل (</a:t>
            </a:r>
            <a:r>
              <a:rPr kumimoji="0" lang="en-US" sz="1000" b="1" i="0" u="none" strike="noStrike" cap="none" normalizeH="0" baseline="0" noProof="0">
                <a:ln>
                  <a:noFill/>
                </a:ln>
                <a:solidFill>
                  <a:srgbClr val="282560"/>
                </a:solidFill>
                <a:effectLst/>
                <a:uLnTx/>
                <a:uFillTx/>
                <a:latin typeface="DIN Next LT Arabic"/>
                <a:ea typeface="+mn-ea"/>
                <a:cs typeface="+mn-cs"/>
              </a:rPr>
              <a:t>PostgreSQL</a:t>
            </a:r>
            <a:r>
              <a:rPr kumimoji="0" lang="ar-SA" sz="1000" b="1" i="0" u="none" strike="noStrike" cap="none" normalizeH="0" baseline="0" noProof="0">
                <a:ln>
                  <a:noFill/>
                </a:ln>
                <a:solidFill>
                  <a:srgbClr val="282560"/>
                </a:solidFill>
                <a:effectLst/>
                <a:uLnTx/>
                <a:uFillTx/>
                <a:latin typeface="DIN Next LT Arabic"/>
                <a:ea typeface="+mn-ea"/>
                <a:cs typeface="+mn-cs"/>
              </a:rPr>
              <a:t>)</a:t>
            </a:r>
            <a:r>
              <a:rPr kumimoji="0" lang="ar-SA" sz="1000" b="0" i="0" u="none" strike="noStrike" cap="none" normalizeH="0" baseline="0" noProof="0">
                <a:ln>
                  <a:noFill/>
                </a:ln>
                <a:solidFill>
                  <a:srgbClr val="282560"/>
                </a:solidFill>
                <a:effectLst/>
                <a:uLnTx/>
                <a:uFillTx/>
                <a:latin typeface="DIN Next LT Arabic"/>
                <a:ea typeface="+mn-ea"/>
                <a:cs typeface="+mn-cs"/>
              </a:rPr>
              <a:t> بينما يمكن الوصول إلى </a:t>
            </a:r>
            <a:r>
              <a:rPr kumimoji="0" lang="ar-SA" sz="1000" b="1" i="0" u="none" strike="noStrike" cap="none" normalizeH="0" baseline="0" noProof="0">
                <a:ln>
                  <a:noFill/>
                </a:ln>
                <a:solidFill>
                  <a:srgbClr val="282560"/>
                </a:solidFill>
                <a:effectLst/>
                <a:uLnTx/>
                <a:uFillTx/>
                <a:latin typeface="DIN Next LT Arabic"/>
                <a:ea typeface="+mn-ea"/>
                <a:cs typeface="+mn-cs"/>
              </a:rPr>
              <a:t>مصادر البيانات البعيدة من خلال واجهات برمجة التطبيقات المستندة إلى الويب</a:t>
            </a:r>
            <a:r>
              <a:rPr kumimoji="0" lang="ar-SA" sz="1000" b="0" i="0" u="none" strike="noStrike" cap="none" normalizeH="0" baseline="0" noProof="0">
                <a:ln>
                  <a:noFill/>
                </a:ln>
                <a:solidFill>
                  <a:srgbClr val="282560"/>
                </a:solidFill>
                <a:effectLst/>
                <a:uLnTx/>
                <a:uFillTx/>
                <a:latin typeface="DIN Next LT Arabic"/>
                <a:ea typeface="+mn-ea"/>
                <a:cs typeface="+mn-cs"/>
              </a:rPr>
              <a:t> مثل خدمات سمات الويب التي يقدمها «اتحاد نظم معلومات الجغرافيا المكانية المفتوح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ضمن عملية تحليل هذه البيانات تشغيل أداة واحدة أو أكثر من الأدوات المعترف بها ضمن بيئة سير العمل على مجموعات البيان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ضم مهام سير العمل مجموعة واسعة من الأدوات، بدءاً من التخطيط والمعالجة البسيطة للبيانات وصولاً إلى الأدوات المتقدمة للتحليل الإحصائي والجغرافي. ويوجد أكثر من 100 أداة متوفرة في بيئة سير العمل لدى الشبكة</a:t>
            </a:r>
          </a:p>
        </p:txBody>
      </p:sp>
      <p:sp>
        <p:nvSpPr>
          <p:cNvPr id="40" name="Rectangle 39">
            <a:extLst>
              <a:ext uri="{FF2B5EF4-FFF2-40B4-BE49-F238E27FC236}">
                <a16:creationId xmlns:a16="http://schemas.microsoft.com/office/drawing/2014/main" id="{D51AC24C-5285-4F1B-B306-FBF29114C0BC}"/>
              </a:ext>
            </a:extLst>
          </p:cNvPr>
          <p:cNvSpPr/>
          <p:nvPr/>
        </p:nvSpPr>
        <p:spPr>
          <a:xfrm flipH="1">
            <a:off x="9280810" y="4441701"/>
            <a:ext cx="2250440" cy="80456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مصادر البيانات </a:t>
            </a:r>
            <a:br>
              <a:rPr lang="ar-EG" sz="1400"/>
            </a:br>
            <a:r>
              <a:rPr lang="ar-SA" sz="1400"/>
              <a:t>المحلية والبعيدة</a:t>
            </a:r>
          </a:p>
        </p:txBody>
      </p:sp>
      <p:sp>
        <p:nvSpPr>
          <p:cNvPr id="41" name="Rectangle 40">
            <a:extLst>
              <a:ext uri="{FF2B5EF4-FFF2-40B4-BE49-F238E27FC236}">
                <a16:creationId xmlns:a16="http://schemas.microsoft.com/office/drawing/2014/main" id="{6F88F8A0-564C-482F-97B3-E156F44260B7}"/>
              </a:ext>
            </a:extLst>
          </p:cNvPr>
          <p:cNvSpPr/>
          <p:nvPr/>
        </p:nvSpPr>
        <p:spPr>
          <a:xfrm flipH="1">
            <a:off x="586319" y="5334000"/>
            <a:ext cx="8610672" cy="80664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يح المعلومات الجغرافية </a:t>
            </a:r>
            <a:r>
              <a:rPr kumimoji="0" lang="ar-SA"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ستخدام الحدود الجغرافية</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عبر مستويات دقة متعددة. وهذا يدعم توفير دراسة ديناميكية للبيانات على مجموعات بيانات كبرى، مثل البيانات المصنفة في فئات تفصيلية في مختلف أنحاء أسترالي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00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دعم التصنيف الجغرافي </a:t>
            </a:r>
            <a:r>
              <a:rPr kumimoji="0" lang="ar-SA" sz="10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مجموعة من معلومات التجميع الجغرافي المكاني</a:t>
            </a:r>
            <a:r>
              <a:rPr kumimoji="0" lang="ar-SA" sz="100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في مختلف أنحاء أستراليا.</a:t>
            </a:r>
            <a:r>
              <a:rPr kumimoji="0" lang="ar-SA" sz="10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يتضمن ذلك الرسوم البيانية للمعلومات المكانية التي تسمح على سبيل المثال بإنشاء جميع مناطق الحكومات المحلية أو الضواحي في ولاية معينة. ويدعم هذا العنصر إمكانية التنقل الذكي عبر الرسم البياني للتصنيفات المكانية</a:t>
            </a:r>
          </a:p>
        </p:txBody>
      </p:sp>
      <p:sp>
        <p:nvSpPr>
          <p:cNvPr id="42" name="Rectangle 41">
            <a:extLst>
              <a:ext uri="{FF2B5EF4-FFF2-40B4-BE49-F238E27FC236}">
                <a16:creationId xmlns:a16="http://schemas.microsoft.com/office/drawing/2014/main" id="{1941ED70-AB2C-418D-834A-D6317B4D6769}"/>
              </a:ext>
            </a:extLst>
          </p:cNvPr>
          <p:cNvSpPr/>
          <p:nvPr/>
        </p:nvSpPr>
        <p:spPr>
          <a:xfrm flipH="1">
            <a:off x="9280810" y="5334000"/>
            <a:ext cx="2250440" cy="80664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المعلومات الجغرافية </a:t>
            </a:r>
            <a:br>
              <a:rPr lang="ar-EG" sz="1400"/>
            </a:br>
            <a:r>
              <a:rPr lang="ar-SA" sz="1400"/>
              <a:t>والتصنيف الجغرافي</a:t>
            </a:r>
          </a:p>
        </p:txBody>
      </p:sp>
      <p:pic>
        <p:nvPicPr>
          <p:cNvPr id="28" name="Picture 2" descr="AURIN. Australian Urban Research Infrastructure Network">
            <a:extLst>
              <a:ext uri="{FF2B5EF4-FFF2-40B4-BE49-F238E27FC236}">
                <a16:creationId xmlns:a16="http://schemas.microsoft.com/office/drawing/2014/main" id="{17ED5A23-BFE7-4C28-B0E0-F77F23F9813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Rounded Corners 29">
            <a:extLst>
              <a:ext uri="{FF2B5EF4-FFF2-40B4-BE49-F238E27FC236}">
                <a16:creationId xmlns:a16="http://schemas.microsoft.com/office/drawing/2014/main" id="{FE98854F-55A9-4782-BF4D-ED4F4BCDEF49}"/>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3- التعامل مع البيانات وقابلية التوسع</a:t>
            </a:r>
          </a:p>
        </p:txBody>
      </p:sp>
      <p:sp>
        <p:nvSpPr>
          <p:cNvPr id="23" name="TextBox 22">
            <a:extLst>
              <a:ext uri="{FF2B5EF4-FFF2-40B4-BE49-F238E27FC236}">
                <a16:creationId xmlns:a16="http://schemas.microsoft.com/office/drawing/2014/main" id="{77FEAF21-0D10-41AD-A849-B76645BCBE8B}"/>
              </a:ext>
            </a:extLst>
          </p:cNvPr>
          <p:cNvSpPr txBox="1"/>
          <p:nvPr/>
        </p:nvSpPr>
        <p:spPr>
          <a:xfrm>
            <a:off x="9890077"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إجراءات</a:t>
            </a:r>
          </a:p>
        </p:txBody>
      </p:sp>
      <p:cxnSp>
        <p:nvCxnSpPr>
          <p:cNvPr id="24" name="Straight Connector 23">
            <a:extLst>
              <a:ext uri="{FF2B5EF4-FFF2-40B4-BE49-F238E27FC236}">
                <a16:creationId xmlns:a16="http://schemas.microsoft.com/office/drawing/2014/main" id="{6E187598-2F01-4A7B-AE46-4CBBF1ABBBD4}"/>
              </a:ext>
            </a:extLst>
          </p:cNvPr>
          <p:cNvCxnSpPr>
            <a:cxnSpLocks/>
          </p:cNvCxnSpPr>
          <p:nvPr/>
        </p:nvCxnSpPr>
        <p:spPr>
          <a:xfrm>
            <a:off x="9293548" y="2336276"/>
            <a:ext cx="225850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15ABB76-EAD7-4564-BFA3-B3BAFC5E78BD}"/>
              </a:ext>
            </a:extLst>
          </p:cNvPr>
          <p:cNvSpPr txBox="1"/>
          <p:nvPr/>
        </p:nvSpPr>
        <p:spPr>
          <a:xfrm>
            <a:off x="4272787"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29" name="Straight Connector 28">
            <a:extLst>
              <a:ext uri="{FF2B5EF4-FFF2-40B4-BE49-F238E27FC236}">
                <a16:creationId xmlns:a16="http://schemas.microsoft.com/office/drawing/2014/main" id="{79F52C48-A2BD-4549-AAE5-C11E9A91E35C}"/>
              </a:ext>
            </a:extLst>
          </p:cNvPr>
          <p:cNvCxnSpPr>
            <a:cxnSpLocks/>
          </p:cNvCxnSpPr>
          <p:nvPr/>
        </p:nvCxnSpPr>
        <p:spPr>
          <a:xfrm>
            <a:off x="591509" y="2336276"/>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E1AB8F9E-3DC7-49B2-991C-C369E65DFCF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3610629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234768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7"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41" name="Slide Number Placeholder 4">
            <a:extLst>
              <a:ext uri="{FF2B5EF4-FFF2-40B4-BE49-F238E27FC236}">
                <a16:creationId xmlns:a16="http://schemas.microsoft.com/office/drawing/2014/main" id="{E4888F15-9B89-49F4-BE75-A179AF88BA36}"/>
              </a:ext>
            </a:extLst>
          </p:cNvPr>
          <p:cNvSpPr>
            <a:spLocks noGrp="1"/>
          </p:cNvSpPr>
          <p:nvPr>
            <p:ph type="sldNum" sz="quarter" idx="12"/>
          </p:nvPr>
        </p:nvSpPr>
        <p:spPr/>
        <p:txBody>
          <a:bodyPr/>
          <a:lstStyle/>
          <a:p>
            <a:pPr lvl="0"/>
            <a:fld id="{9FDB499F-DC86-4996-A3C7-FCE8E06389C2}" type="slidenum">
              <a:rPr lang="ar-SA" noProof="0" smtClean="0"/>
              <a:pPr lvl="0"/>
              <a:t>14</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التعامل مع كميات كبيرة من البيانات (3/ 3)</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29" name="Rectangle 28">
            <a:extLst>
              <a:ext uri="{FF2B5EF4-FFF2-40B4-BE49-F238E27FC236}">
                <a16:creationId xmlns:a16="http://schemas.microsoft.com/office/drawing/2014/main" id="{8282131F-2E5B-4216-AA23-71ACA36E6F2F}"/>
              </a:ext>
            </a:extLst>
          </p:cNvPr>
          <p:cNvSpPr/>
          <p:nvPr/>
        </p:nvSpPr>
        <p:spPr>
          <a:xfrm flipH="1">
            <a:off x="586319" y="2419337"/>
            <a:ext cx="8610672" cy="422923"/>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إذا كانت هناك حاجة للبيانات السابقة، فلدى الشبكة اتصال </a:t>
            </a:r>
            <a:r>
              <a:rPr kumimoji="0" lang="ar-SA"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أرشيف البيانات الأسترالي إضافة إلى مستودع محلي لحفظ لقطات صورية</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من البيانات بمرور الوقت - مما يؤدي إلى المساهمة في قدرات التحليل الزمني وحفظ سجلات البيانات قبل استبدالها (</a:t>
            </a:r>
            <a:r>
              <a:rPr kumimoji="0" lang="en-US"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overwritten</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p>
        </p:txBody>
      </p:sp>
      <p:sp>
        <p:nvSpPr>
          <p:cNvPr id="30" name="Rectangle 29">
            <a:extLst>
              <a:ext uri="{FF2B5EF4-FFF2-40B4-BE49-F238E27FC236}">
                <a16:creationId xmlns:a16="http://schemas.microsoft.com/office/drawing/2014/main" id="{AA069C92-EFAB-47B1-AF03-CD646B5E0B90}"/>
              </a:ext>
            </a:extLst>
          </p:cNvPr>
          <p:cNvSpPr/>
          <p:nvPr/>
        </p:nvSpPr>
        <p:spPr>
          <a:xfrm flipH="1">
            <a:off x="9280810" y="2419337"/>
            <a:ext cx="2250440" cy="42292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البيانات السابقة</a:t>
            </a:r>
          </a:p>
        </p:txBody>
      </p:sp>
      <p:sp>
        <p:nvSpPr>
          <p:cNvPr id="33" name="Rectangle 32">
            <a:extLst>
              <a:ext uri="{FF2B5EF4-FFF2-40B4-BE49-F238E27FC236}">
                <a16:creationId xmlns:a16="http://schemas.microsoft.com/office/drawing/2014/main" id="{8BF687E9-B639-43B3-AB9E-915325EF20B9}"/>
              </a:ext>
            </a:extLst>
          </p:cNvPr>
          <p:cNvSpPr/>
          <p:nvPr/>
        </p:nvSpPr>
        <p:spPr>
          <a:xfrm flipH="1">
            <a:off x="586319" y="2925319"/>
            <a:ext cx="8610672" cy="968501"/>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indent="-171450" algn="r" rtl="1">
              <a:buFont typeface="Arial" panose="020B0604020202020204" pitchFamily="34" charset="0"/>
              <a:buChar char="•"/>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نظام موفر البيانات هو عبارة عن مجموعة من </a:t>
            </a:r>
            <a:r>
              <a:rPr kumimoji="0" lang="ar-SA"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عملاء البيانات المخصصة الداعمين لجميع واجهات برمجة التطبيقات الضرور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عمل هذا النظام بمثابة صندوق أسود لحماية تدفق معالجة البيانات الداخلية داخل الشبكة من تعقيدات مصادر البيانات المتنوعة المدعوم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تم دمج الطلبات التي تم تمريرها من واجهة المستخدم لدى الشبكة ومكونات البرمجيات الوسيطة مع المعلومات التي تحتفظ بها خدمة تسجيل البيانات </a:t>
            </a:r>
            <a:r>
              <a:rPr kumimoji="0" lang="ar-SA"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لإحضار البيانات البعيدة استناداً إلى معلمات الفرز </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مدعوم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EG"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ستخدم </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خدمة أيضاً طرقاً مفيدة لدعم عمليات التنفيذ غير المتزامنة لطلبات البيانات، استعداداً للاستخدام الكبير المفترض</a:t>
            </a:r>
          </a:p>
        </p:txBody>
      </p:sp>
      <p:sp>
        <p:nvSpPr>
          <p:cNvPr id="35" name="Rectangle 34">
            <a:extLst>
              <a:ext uri="{FF2B5EF4-FFF2-40B4-BE49-F238E27FC236}">
                <a16:creationId xmlns:a16="http://schemas.microsoft.com/office/drawing/2014/main" id="{CC815BBC-7C18-4B19-86AE-B339F97A70B2}"/>
              </a:ext>
            </a:extLst>
          </p:cNvPr>
          <p:cNvSpPr/>
          <p:nvPr/>
        </p:nvSpPr>
        <p:spPr>
          <a:xfrm flipH="1">
            <a:off x="9280810" y="2925319"/>
            <a:ext cx="2250440" cy="96850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نظام موفر البيانات</a:t>
            </a:r>
          </a:p>
        </p:txBody>
      </p:sp>
      <p:sp>
        <p:nvSpPr>
          <p:cNvPr id="36" name="Rectangle 35">
            <a:extLst>
              <a:ext uri="{FF2B5EF4-FFF2-40B4-BE49-F238E27FC236}">
                <a16:creationId xmlns:a16="http://schemas.microsoft.com/office/drawing/2014/main" id="{6901DB05-B39A-45D4-9BD9-1D80068212B4}"/>
              </a:ext>
            </a:extLst>
          </p:cNvPr>
          <p:cNvSpPr/>
          <p:nvPr/>
        </p:nvSpPr>
        <p:spPr>
          <a:xfrm flipH="1">
            <a:off x="586319" y="3976880"/>
            <a:ext cx="8610672" cy="121576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تم استخدام مخزن البيانات الدائم لدى الشبكة عند الحاجة إلى </a:t>
            </a:r>
            <a:r>
              <a:rPr kumimoji="0" lang="ar-SA"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خزين البيانات المطلوبة على نحو مستمر</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EG"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لعدة أغراض منها</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على سبيل المثال</a:t>
            </a:r>
            <a:r>
              <a:rPr kumimoji="0" lang="ar-EG"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إجراء تحليلات إضافية.</a:t>
            </a:r>
            <a:r>
              <a:rPr kumimoji="0" lang="ar-SA" sz="95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هذا المخزن تم إنشاؤه باستخدام </a:t>
            </a:r>
            <a:r>
              <a:rPr kumimoji="0" lang="ar-SA"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حل قاعدة بيانات كاوتش دي بي (</a:t>
            </a:r>
            <a:r>
              <a:rPr kumimoji="0" lang="en-US"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CouchDB</a:t>
            </a:r>
            <a:r>
              <a:rPr kumimoji="0" lang="ar-SA"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غير العلائقية التي تعتمد على المستند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م توسيع هذا النظام وتحسينه بشكل كبير لدعم مجموعات البيانات الكبيرة ومجموعات البيانات المجمّعة. ويتم تخزين البيانات نفسها في صورة كائنات بتنسيق </a:t>
            </a:r>
            <a:r>
              <a:rPr kumimoji="0" lang="en-US"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JSON</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a:t>
            </a:r>
            <a:r>
              <a:rPr kumimoji="0" lang="en-US"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GeoJSON</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يح بنية البيانات غير العلائقية في قاعدة البيانات إمكانية التخزين المرن لمجموعات البيانات التي تتكيف مع متطلبات البيانات التعريفية التي يجب تخزينها لكل نوع معين من مصادر البيان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الإضافة إلى قاعدة بيانات كاوتش دي بي (</a:t>
            </a:r>
            <a:r>
              <a:rPr kumimoji="0" lang="en-US"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CouchDB</a:t>
            </a:r>
            <a:r>
              <a:rPr kumimoji="0" lang="ar-EG"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يتم استخدام </a:t>
            </a:r>
            <a:r>
              <a:rPr kumimoji="0" lang="ar-SA"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قاعدة البيانات العلائقية بوست جي آي إس (</a:t>
            </a:r>
            <a:r>
              <a:rPr kumimoji="0" lang="en-US"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PostGIS</a:t>
            </a:r>
            <a:r>
              <a:rPr kumimoji="0" lang="ar-SA"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في البنية التحتية الإلكترونية للشبكة بهدف تحقيق مستوى أداء عالٍ في تخزين مجموعات البيانات المهيكلة والاستعلام عنها، لا سيما مجموعات البيانات ذات السمات المكانية والهندس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خضع البيانات التي يتم الحصول عليها لإدارة كاملة من جانب المستخدمين ويمكن استخدامها حتى إذا قُطع الاتصال بمصدر البيانات المصدرية</a:t>
            </a:r>
          </a:p>
        </p:txBody>
      </p:sp>
      <p:sp>
        <p:nvSpPr>
          <p:cNvPr id="37" name="Rectangle 36">
            <a:extLst>
              <a:ext uri="{FF2B5EF4-FFF2-40B4-BE49-F238E27FC236}">
                <a16:creationId xmlns:a16="http://schemas.microsoft.com/office/drawing/2014/main" id="{7B4C1BF5-56AA-49D5-906D-987B1C675667}"/>
              </a:ext>
            </a:extLst>
          </p:cNvPr>
          <p:cNvSpPr/>
          <p:nvPr/>
        </p:nvSpPr>
        <p:spPr>
          <a:xfrm flipH="1">
            <a:off x="9280810" y="3976880"/>
            <a:ext cx="2250440" cy="121576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مخزن البيانات الدائم</a:t>
            </a:r>
          </a:p>
        </p:txBody>
      </p:sp>
      <p:sp>
        <p:nvSpPr>
          <p:cNvPr id="38" name="Rectangle 37">
            <a:extLst>
              <a:ext uri="{FF2B5EF4-FFF2-40B4-BE49-F238E27FC236}">
                <a16:creationId xmlns:a16="http://schemas.microsoft.com/office/drawing/2014/main" id="{A42A8501-E564-411B-96F2-221A6B53BC74}"/>
              </a:ext>
            </a:extLst>
          </p:cNvPr>
          <p:cNvSpPr/>
          <p:nvPr/>
        </p:nvSpPr>
        <p:spPr>
          <a:xfrm flipH="1">
            <a:off x="586319" y="5275699"/>
            <a:ext cx="8610672" cy="86494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قدم هذه الطبقة </a:t>
            </a:r>
            <a:r>
              <a:rPr kumimoji="0" lang="ar-SA" sz="95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برمجيات الوسيطة لدى الشبكة وهي مسؤولة عن تنسيق النظام بأكمله</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من خلال البيانات والرسائل المتنوعة بين المكونات وواجهة المستخدم</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م بناء هذه الطبقة كمجموعة خدمات مزودة بقاعدة بيانات تعتمد على المستندات وتعمل بتنسيق ترميز الكائنات بلغة جافا سكريبت (</a:t>
            </a:r>
            <a:r>
              <a:rPr kumimoji="0" lang="en-US"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JSON</a:t>
            </a:r>
            <a:r>
              <a:rPr kumimoji="0" lang="ar-EG"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a:t>
            </a:r>
            <a:r>
              <a:rPr kumimoji="0" lang="ar-SA" sz="95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توفر قاعدة البيانات تخزيناً دائماً لمعلمات الجلسة (يُستخدم مصطلح الجلسة هنا فيما يتعلق بجلسة مستخدم الشبكة وليس جلسة المتصفح). ويدعم ذلك قدرة المستخدم على العودة إلى تحليل معين في وقت لاحق دون الحاجة إلى تكرار خطوات الحصول على البيانات.</a:t>
            </a:r>
          </a:p>
        </p:txBody>
      </p:sp>
      <p:sp>
        <p:nvSpPr>
          <p:cNvPr id="39" name="Rectangle 38">
            <a:extLst>
              <a:ext uri="{FF2B5EF4-FFF2-40B4-BE49-F238E27FC236}">
                <a16:creationId xmlns:a16="http://schemas.microsoft.com/office/drawing/2014/main" id="{FBD20D6B-5EBF-418A-A503-A5FE50CA4A5F}"/>
              </a:ext>
            </a:extLst>
          </p:cNvPr>
          <p:cNvSpPr/>
          <p:nvPr/>
        </p:nvSpPr>
        <p:spPr>
          <a:xfrm flipH="1">
            <a:off x="9280810" y="5275699"/>
            <a:ext cx="2250440" cy="86494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منطق تسلسل العمل لدى الشبكة (البرمجيات الوسيطة)</a:t>
            </a:r>
          </a:p>
        </p:txBody>
      </p:sp>
      <p:pic>
        <p:nvPicPr>
          <p:cNvPr id="40" name="Picture 2" descr="AURIN. Australian Urban Research Infrastructure Network">
            <a:extLst>
              <a:ext uri="{FF2B5EF4-FFF2-40B4-BE49-F238E27FC236}">
                <a16:creationId xmlns:a16="http://schemas.microsoft.com/office/drawing/2014/main" id="{D8089F80-EF88-4935-8948-E318C6E95597}"/>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Rounded Corners 41">
            <a:extLst>
              <a:ext uri="{FF2B5EF4-FFF2-40B4-BE49-F238E27FC236}">
                <a16:creationId xmlns:a16="http://schemas.microsoft.com/office/drawing/2014/main" id="{52C38297-6C1C-4CB0-A532-D7875931EF9A}"/>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3- التعامل مع البيانات وقابلية التوسع</a:t>
            </a:r>
          </a:p>
        </p:txBody>
      </p:sp>
      <p:sp>
        <p:nvSpPr>
          <p:cNvPr id="24" name="TextBox 23">
            <a:extLst>
              <a:ext uri="{FF2B5EF4-FFF2-40B4-BE49-F238E27FC236}">
                <a16:creationId xmlns:a16="http://schemas.microsoft.com/office/drawing/2014/main" id="{819F0F33-4D66-4785-A4EB-7954E7E9AE64}"/>
              </a:ext>
            </a:extLst>
          </p:cNvPr>
          <p:cNvSpPr txBox="1"/>
          <p:nvPr/>
        </p:nvSpPr>
        <p:spPr>
          <a:xfrm>
            <a:off x="9890077"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إجراءات</a:t>
            </a:r>
          </a:p>
        </p:txBody>
      </p:sp>
      <p:cxnSp>
        <p:nvCxnSpPr>
          <p:cNvPr id="27" name="Straight Connector 26">
            <a:extLst>
              <a:ext uri="{FF2B5EF4-FFF2-40B4-BE49-F238E27FC236}">
                <a16:creationId xmlns:a16="http://schemas.microsoft.com/office/drawing/2014/main" id="{0C3CD3AE-7D5E-4B22-ACAE-1802E4F0CF59}"/>
              </a:ext>
            </a:extLst>
          </p:cNvPr>
          <p:cNvCxnSpPr>
            <a:cxnSpLocks/>
          </p:cNvCxnSpPr>
          <p:nvPr/>
        </p:nvCxnSpPr>
        <p:spPr>
          <a:xfrm>
            <a:off x="9293548" y="2336276"/>
            <a:ext cx="225850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77CBC12-93B4-4FF8-BA96-D80756C085E7}"/>
              </a:ext>
            </a:extLst>
          </p:cNvPr>
          <p:cNvSpPr txBox="1"/>
          <p:nvPr/>
        </p:nvSpPr>
        <p:spPr>
          <a:xfrm>
            <a:off x="4272787"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34" name="Straight Connector 33">
            <a:extLst>
              <a:ext uri="{FF2B5EF4-FFF2-40B4-BE49-F238E27FC236}">
                <a16:creationId xmlns:a16="http://schemas.microsoft.com/office/drawing/2014/main" id="{D6CE1CA2-13A6-4F6B-8EF6-E3E78491BAD7}"/>
              </a:ext>
            </a:extLst>
          </p:cNvPr>
          <p:cNvCxnSpPr>
            <a:cxnSpLocks/>
          </p:cNvCxnSpPr>
          <p:nvPr/>
        </p:nvCxnSpPr>
        <p:spPr>
          <a:xfrm>
            <a:off x="591509" y="2336276"/>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158E01CE-A061-4C83-B065-F380BD16835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491887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227588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1"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25" name="Slide Number Placeholder 4">
            <a:extLst>
              <a:ext uri="{FF2B5EF4-FFF2-40B4-BE49-F238E27FC236}">
                <a16:creationId xmlns:a16="http://schemas.microsoft.com/office/drawing/2014/main" id="{905737AB-B016-4230-9779-54724B1EF531}"/>
              </a:ext>
            </a:extLst>
          </p:cNvPr>
          <p:cNvSpPr>
            <a:spLocks noGrp="1"/>
          </p:cNvSpPr>
          <p:nvPr>
            <p:ph type="sldNum" sz="quarter" idx="12"/>
          </p:nvPr>
        </p:nvSpPr>
        <p:spPr/>
        <p:txBody>
          <a:bodyPr/>
          <a:lstStyle/>
          <a:p>
            <a:pPr lvl="0"/>
            <a:fld id="{9FDB499F-DC86-4996-A3C7-FCE8E06389C2}" type="slidenum">
              <a:rPr lang="ar-SA" noProof="0" smtClean="0"/>
              <a:pPr lvl="0"/>
              <a:t>15</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a:xfrm>
            <a:off x="533400" y="800100"/>
            <a:ext cx="11049000" cy="579758"/>
          </a:xfrm>
        </p:spPr>
        <p:txBody>
          <a:bodyPr vert="horz"/>
          <a:lstStyle/>
          <a:p>
            <a:r>
              <a:rPr lang="ar-SA"/>
              <a:t>أجهزة العمل لدى «الشبكة الأسترالية للبنية التحتية</a:t>
            </a:r>
            <a:br>
              <a:rPr lang="ar-BH"/>
            </a:br>
            <a:r>
              <a:rPr lang="ar-SA"/>
              <a:t> للأبحاث الحضرية» (2019)</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14" name="Rectangle 13">
            <a:extLst>
              <a:ext uri="{FF2B5EF4-FFF2-40B4-BE49-F238E27FC236}">
                <a16:creationId xmlns:a16="http://schemas.microsoft.com/office/drawing/2014/main" id="{46FE69AA-0671-4292-AB5C-E5161A0988CB}"/>
              </a:ext>
            </a:extLst>
          </p:cNvPr>
          <p:cNvSpPr/>
          <p:nvPr/>
        </p:nvSpPr>
        <p:spPr>
          <a:xfrm>
            <a:off x="647700" y="1877568"/>
            <a:ext cx="10883550" cy="32958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600"/>
              <a:t>الخوادم</a:t>
            </a:r>
          </a:p>
        </p:txBody>
      </p:sp>
      <p:sp>
        <p:nvSpPr>
          <p:cNvPr id="16" name="Rectangle 15">
            <a:extLst>
              <a:ext uri="{FF2B5EF4-FFF2-40B4-BE49-F238E27FC236}">
                <a16:creationId xmlns:a16="http://schemas.microsoft.com/office/drawing/2014/main" id="{2D5F73DF-1585-4C29-867E-593A4B88E1B8}"/>
              </a:ext>
            </a:extLst>
          </p:cNvPr>
          <p:cNvSpPr/>
          <p:nvPr/>
        </p:nvSpPr>
        <p:spPr>
          <a:xfrm>
            <a:off x="647700" y="2296941"/>
            <a:ext cx="9579344"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r>
              <a:rPr kumimoji="0" lang="en-US" sz="14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CPU: 64x Intel Xeon 2.13GHz</a:t>
            </a:r>
          </a:p>
          <a:p>
            <a:pPr marR="0" lvl="0" algn="r" defTabSz="914400" rtl="1" eaLnBrk="1" fontAlgn="auto" latinLnBrk="0" hangingPunct="1">
              <a:lnSpc>
                <a:spcPct val="100000"/>
              </a:lnSpc>
              <a:spcBef>
                <a:spcPts val="0"/>
              </a:spcBef>
              <a:spcAft>
                <a:spcPts val="0"/>
              </a:spcAft>
              <a:buClrTx/>
              <a:buSzTx/>
              <a:tabLst/>
              <a:defRPr/>
            </a:pPr>
            <a:r>
              <a:rPr lang="en-US" sz="1400">
                <a:solidFill>
                  <a:srgbClr val="282560"/>
                </a:solidFill>
                <a:latin typeface="DIN Next LT Arabic (Body)"/>
                <a:sym typeface="Effra" panose="02000506080000020004" pitchFamily="2" charset="0"/>
              </a:rPr>
              <a:t>RAM: 256GB (8GB, 1066MHz DIMM)</a:t>
            </a:r>
          </a:p>
        </p:txBody>
      </p:sp>
      <p:sp>
        <p:nvSpPr>
          <p:cNvPr id="17" name="Rectangle 16">
            <a:extLst>
              <a:ext uri="{FF2B5EF4-FFF2-40B4-BE49-F238E27FC236}">
                <a16:creationId xmlns:a16="http://schemas.microsoft.com/office/drawing/2014/main" id="{CAF205E8-A83B-45B2-91F9-BBA24E703973}"/>
              </a:ext>
            </a:extLst>
          </p:cNvPr>
          <p:cNvSpPr/>
          <p:nvPr/>
        </p:nvSpPr>
        <p:spPr>
          <a:xfrm>
            <a:off x="10325618" y="2296941"/>
            <a:ext cx="1200577"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r>
              <a:rPr kumimoji="0" lang="en-US" sz="1400" b="1" i="0" u="none" strike="noStrike" cap="none" normalizeH="0" baseline="0" noProof="0">
                <a:ln>
                  <a:noFill/>
                </a:ln>
                <a:solidFill>
                  <a:schemeClr val="tx1"/>
                </a:solidFill>
                <a:effectLst/>
                <a:uLnTx/>
                <a:uFillTx/>
                <a:latin typeface="DIN Next LT Arabic (Body)"/>
                <a:ea typeface="+mn-ea"/>
                <a:cs typeface="+mn-cs"/>
                <a:sym typeface="Effra" panose="02000506080000020004" pitchFamily="2" charset="0"/>
              </a:rPr>
              <a:t>x4</a:t>
            </a:r>
          </a:p>
        </p:txBody>
      </p:sp>
      <p:sp>
        <p:nvSpPr>
          <p:cNvPr id="19" name="Rectangle 18">
            <a:extLst>
              <a:ext uri="{FF2B5EF4-FFF2-40B4-BE49-F238E27FC236}">
                <a16:creationId xmlns:a16="http://schemas.microsoft.com/office/drawing/2014/main" id="{4A6AF8F7-577F-4137-BCA8-006B0810E39F}"/>
              </a:ext>
            </a:extLst>
          </p:cNvPr>
          <p:cNvSpPr/>
          <p:nvPr/>
        </p:nvSpPr>
        <p:spPr>
          <a:xfrm>
            <a:off x="647700" y="2861792"/>
            <a:ext cx="9579344"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CPU: 80x Intel Xeon 2.20GHz</a:t>
            </a: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RAM: 384GB (16GB, 1600MHz RDIMMS)</a:t>
            </a:r>
          </a:p>
        </p:txBody>
      </p:sp>
      <p:sp>
        <p:nvSpPr>
          <p:cNvPr id="21" name="Rectangle 20">
            <a:extLst>
              <a:ext uri="{FF2B5EF4-FFF2-40B4-BE49-F238E27FC236}">
                <a16:creationId xmlns:a16="http://schemas.microsoft.com/office/drawing/2014/main" id="{FE1CF1EC-972E-42E2-8781-846D62C760A2}"/>
              </a:ext>
            </a:extLst>
          </p:cNvPr>
          <p:cNvSpPr/>
          <p:nvPr/>
        </p:nvSpPr>
        <p:spPr>
          <a:xfrm>
            <a:off x="10325618" y="2861792"/>
            <a:ext cx="1200577"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r>
              <a:rPr kumimoji="0" lang="en-US" sz="1400" b="1" i="0" u="none" strike="noStrike" cap="none" normalizeH="0" baseline="0" noProof="0">
                <a:ln>
                  <a:noFill/>
                </a:ln>
                <a:solidFill>
                  <a:schemeClr val="tx1"/>
                </a:solidFill>
                <a:effectLst/>
                <a:uLnTx/>
                <a:uFillTx/>
                <a:latin typeface="DIN Next LT Arabic (Body)"/>
                <a:ea typeface="+mn-ea"/>
                <a:cs typeface="+mn-cs"/>
                <a:sym typeface="Effra" panose="02000506080000020004" pitchFamily="2" charset="0"/>
              </a:rPr>
              <a:t>x1</a:t>
            </a:r>
          </a:p>
        </p:txBody>
      </p:sp>
      <p:sp>
        <p:nvSpPr>
          <p:cNvPr id="23" name="Rectangle 22">
            <a:extLst>
              <a:ext uri="{FF2B5EF4-FFF2-40B4-BE49-F238E27FC236}">
                <a16:creationId xmlns:a16="http://schemas.microsoft.com/office/drawing/2014/main" id="{69FCB8D9-5F5C-4997-96C3-A36D6114D89D}"/>
              </a:ext>
            </a:extLst>
          </p:cNvPr>
          <p:cNvSpPr/>
          <p:nvPr/>
        </p:nvSpPr>
        <p:spPr>
          <a:xfrm>
            <a:off x="647700" y="3542150"/>
            <a:ext cx="10883550" cy="32958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600"/>
              <a:t>الشبكة</a:t>
            </a:r>
          </a:p>
        </p:txBody>
      </p:sp>
      <p:sp>
        <p:nvSpPr>
          <p:cNvPr id="26" name="Rectangle 25">
            <a:extLst>
              <a:ext uri="{FF2B5EF4-FFF2-40B4-BE49-F238E27FC236}">
                <a16:creationId xmlns:a16="http://schemas.microsoft.com/office/drawing/2014/main" id="{1E865938-0EFB-47FF-ACC3-78BB54E80DF1}"/>
              </a:ext>
            </a:extLst>
          </p:cNvPr>
          <p:cNvSpPr/>
          <p:nvPr/>
        </p:nvSpPr>
        <p:spPr>
          <a:xfrm>
            <a:off x="647700" y="3961523"/>
            <a:ext cx="9579344"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10GB NIC 2x2 iSCSI</a:t>
            </a:r>
          </a:p>
        </p:txBody>
      </p:sp>
      <p:sp>
        <p:nvSpPr>
          <p:cNvPr id="27" name="Rectangle 26">
            <a:extLst>
              <a:ext uri="{FF2B5EF4-FFF2-40B4-BE49-F238E27FC236}">
                <a16:creationId xmlns:a16="http://schemas.microsoft.com/office/drawing/2014/main" id="{A636DC0F-4229-407E-83B8-8B1F6C33090F}"/>
              </a:ext>
            </a:extLst>
          </p:cNvPr>
          <p:cNvSpPr/>
          <p:nvPr/>
        </p:nvSpPr>
        <p:spPr>
          <a:xfrm>
            <a:off x="10325618" y="3961523"/>
            <a:ext cx="1200577"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r>
              <a:rPr kumimoji="0" lang="en-US" sz="1400" b="1" i="0" u="none" strike="noStrike" cap="none" normalizeH="0" baseline="0" noProof="0">
                <a:ln>
                  <a:noFill/>
                </a:ln>
                <a:solidFill>
                  <a:schemeClr val="tx1"/>
                </a:solidFill>
                <a:effectLst/>
                <a:uLnTx/>
                <a:uFillTx/>
                <a:latin typeface="DIN Next LT Arabic (Body)"/>
                <a:ea typeface="+mn-ea"/>
                <a:cs typeface="+mn-cs"/>
                <a:sym typeface="Effra" panose="02000506080000020004" pitchFamily="2" charset="0"/>
              </a:rPr>
              <a:t>x4</a:t>
            </a:r>
          </a:p>
        </p:txBody>
      </p:sp>
      <p:sp>
        <p:nvSpPr>
          <p:cNvPr id="28" name="Rectangle 27">
            <a:extLst>
              <a:ext uri="{FF2B5EF4-FFF2-40B4-BE49-F238E27FC236}">
                <a16:creationId xmlns:a16="http://schemas.microsoft.com/office/drawing/2014/main" id="{5CC5798E-654D-427A-B9A2-556C53B45CFB}"/>
              </a:ext>
            </a:extLst>
          </p:cNvPr>
          <p:cNvSpPr/>
          <p:nvPr/>
        </p:nvSpPr>
        <p:spPr>
          <a:xfrm>
            <a:off x="647700" y="4526374"/>
            <a:ext cx="9579344"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10GB NIC 1x2 Internet traffic</a:t>
            </a:r>
          </a:p>
        </p:txBody>
      </p:sp>
      <p:sp>
        <p:nvSpPr>
          <p:cNvPr id="29" name="Rectangle 28">
            <a:extLst>
              <a:ext uri="{FF2B5EF4-FFF2-40B4-BE49-F238E27FC236}">
                <a16:creationId xmlns:a16="http://schemas.microsoft.com/office/drawing/2014/main" id="{4E5594D9-6B18-49FD-AB7A-61F6D9692E8F}"/>
              </a:ext>
            </a:extLst>
          </p:cNvPr>
          <p:cNvSpPr/>
          <p:nvPr/>
        </p:nvSpPr>
        <p:spPr>
          <a:xfrm>
            <a:off x="10325618" y="4526374"/>
            <a:ext cx="1200577"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r>
              <a:rPr kumimoji="0" lang="en-US" sz="1400" b="1" i="0" u="none" strike="noStrike" cap="none" normalizeH="0" baseline="0" noProof="0">
                <a:ln>
                  <a:noFill/>
                </a:ln>
                <a:solidFill>
                  <a:schemeClr val="tx1"/>
                </a:solidFill>
                <a:effectLst/>
                <a:uLnTx/>
                <a:uFillTx/>
                <a:latin typeface="DIN Next LT Arabic (Body)"/>
                <a:ea typeface="+mn-ea"/>
                <a:cs typeface="+mn-cs"/>
                <a:sym typeface="Effra" panose="02000506080000020004" pitchFamily="2" charset="0"/>
              </a:rPr>
              <a:t>x2</a:t>
            </a:r>
          </a:p>
        </p:txBody>
      </p:sp>
      <p:sp>
        <p:nvSpPr>
          <p:cNvPr id="30" name="Rectangle 29">
            <a:extLst>
              <a:ext uri="{FF2B5EF4-FFF2-40B4-BE49-F238E27FC236}">
                <a16:creationId xmlns:a16="http://schemas.microsoft.com/office/drawing/2014/main" id="{4F21A143-0B6F-416E-AAA4-2BF4ED143107}"/>
              </a:ext>
            </a:extLst>
          </p:cNvPr>
          <p:cNvSpPr/>
          <p:nvPr/>
        </p:nvSpPr>
        <p:spPr>
          <a:xfrm>
            <a:off x="647700" y="5206732"/>
            <a:ext cx="10883550" cy="32958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600"/>
              <a:t>السعة التخزينية</a:t>
            </a:r>
          </a:p>
        </p:txBody>
      </p:sp>
      <p:sp>
        <p:nvSpPr>
          <p:cNvPr id="31" name="Rectangle 30">
            <a:extLst>
              <a:ext uri="{FF2B5EF4-FFF2-40B4-BE49-F238E27FC236}">
                <a16:creationId xmlns:a16="http://schemas.microsoft.com/office/drawing/2014/main" id="{08975252-6E5B-4E38-86D6-CBCC9AC80F97}"/>
              </a:ext>
            </a:extLst>
          </p:cNvPr>
          <p:cNvSpPr/>
          <p:nvPr/>
        </p:nvSpPr>
        <p:spPr>
          <a:xfrm>
            <a:off x="647700" y="5626104"/>
            <a:ext cx="9579344"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4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EqualLogic PS6210X (24X 600GB 10K SAS)</a:t>
            </a:r>
          </a:p>
        </p:txBody>
      </p:sp>
      <p:sp>
        <p:nvSpPr>
          <p:cNvPr id="32" name="Rectangle 31">
            <a:extLst>
              <a:ext uri="{FF2B5EF4-FFF2-40B4-BE49-F238E27FC236}">
                <a16:creationId xmlns:a16="http://schemas.microsoft.com/office/drawing/2014/main" id="{A44D58CF-EEEA-46B4-BED8-BEECC2F471B4}"/>
              </a:ext>
            </a:extLst>
          </p:cNvPr>
          <p:cNvSpPr/>
          <p:nvPr/>
        </p:nvSpPr>
        <p:spPr>
          <a:xfrm>
            <a:off x="10325618" y="5626104"/>
            <a:ext cx="1200577" cy="478154"/>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r>
              <a:rPr kumimoji="0" lang="en-US" sz="1400" b="1" i="0" u="none" strike="noStrike" cap="none" normalizeH="0" baseline="0" noProof="0">
                <a:ln>
                  <a:noFill/>
                </a:ln>
                <a:solidFill>
                  <a:schemeClr val="tx1"/>
                </a:solidFill>
                <a:effectLst/>
                <a:uLnTx/>
                <a:uFillTx/>
                <a:latin typeface="DIN Next LT Arabic (Body)"/>
                <a:ea typeface="+mn-ea"/>
                <a:cs typeface="+mn-cs"/>
                <a:sym typeface="Effra" panose="02000506080000020004" pitchFamily="2" charset="0"/>
              </a:rPr>
              <a:t>x1</a:t>
            </a:r>
          </a:p>
        </p:txBody>
      </p:sp>
      <p:pic>
        <p:nvPicPr>
          <p:cNvPr id="36" name="Picture 2" descr="AURIN. Australian Urban Research Infrastructure Network">
            <a:extLst>
              <a:ext uri="{FF2B5EF4-FFF2-40B4-BE49-F238E27FC236}">
                <a16:creationId xmlns:a16="http://schemas.microsoft.com/office/drawing/2014/main" id="{E2EB3FA7-ED8D-435D-8361-2523B3D9B54E}"/>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Rounded Corners 37">
            <a:extLst>
              <a:ext uri="{FF2B5EF4-FFF2-40B4-BE49-F238E27FC236}">
                <a16:creationId xmlns:a16="http://schemas.microsoft.com/office/drawing/2014/main" id="{5F667C63-2938-4E98-8ABA-B10470E90C56}"/>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3- التعامل مع البيانات وقابلية التوسع</a:t>
            </a:r>
          </a:p>
        </p:txBody>
      </p:sp>
      <p:pic>
        <p:nvPicPr>
          <p:cNvPr id="33" name="Picture 32">
            <a:extLst>
              <a:ext uri="{FF2B5EF4-FFF2-40B4-BE49-F238E27FC236}">
                <a16:creationId xmlns:a16="http://schemas.microsoft.com/office/drawing/2014/main" id="{88BE0F01-31FF-4D4C-B673-9605DF153A1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136735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229D4E-9787-492C-9601-954B73622C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5"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F6229D4E-9787-492C-9601-954B73622C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E77AFA-C4E6-46BE-85D3-8EABFFA94D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BFFE8A4A-D69E-4379-A000-4C983AF21A32}"/>
              </a:ext>
            </a:extLst>
          </p:cNvPr>
          <p:cNvSpPr>
            <a:spLocks noGrp="1"/>
          </p:cNvSpPr>
          <p:nvPr>
            <p:ph type="ftr" sz="quarter" idx="11"/>
          </p:nvPr>
        </p:nvSpPr>
        <p:spPr/>
        <p:txBody>
          <a:bodyPr/>
          <a:lstStyle/>
          <a:p>
            <a:r>
              <a:rPr lang="ar-SA"/>
              <a:t>المصدر: تحليلات فريق العمل</a:t>
            </a:r>
          </a:p>
        </p:txBody>
      </p:sp>
      <p:sp>
        <p:nvSpPr>
          <p:cNvPr id="128" name="Slide Number Placeholder 4">
            <a:extLst>
              <a:ext uri="{FF2B5EF4-FFF2-40B4-BE49-F238E27FC236}">
                <a16:creationId xmlns:a16="http://schemas.microsoft.com/office/drawing/2014/main" id="{8AF918E7-C631-4B2E-9049-AD0D1C541D57}"/>
              </a:ext>
            </a:extLst>
          </p:cNvPr>
          <p:cNvSpPr>
            <a:spLocks noGrp="1"/>
          </p:cNvSpPr>
          <p:nvPr>
            <p:ph type="sldNum" sz="quarter" idx="12"/>
          </p:nvPr>
        </p:nvSpPr>
        <p:spPr/>
        <p:txBody>
          <a:bodyPr/>
          <a:lstStyle/>
          <a:p>
            <a:pPr lvl="0"/>
            <a:fld id="{9FDB499F-DC86-4996-A3C7-FCE8E06389C2}" type="slidenum">
              <a:rPr lang="ar-SA" noProof="0" smtClean="0"/>
              <a:pPr lvl="0"/>
              <a:t>16</a:t>
            </a:fld>
            <a:endParaRPr lang="ar-SA" noProof="0"/>
          </a:p>
        </p:txBody>
      </p:sp>
      <p:sp>
        <p:nvSpPr>
          <p:cNvPr id="5" name="Title 4">
            <a:extLst>
              <a:ext uri="{FF2B5EF4-FFF2-40B4-BE49-F238E27FC236}">
                <a16:creationId xmlns:a16="http://schemas.microsoft.com/office/drawing/2014/main" id="{102A09C3-8DEF-40E2-90F8-CCCE5E04FB4E}"/>
              </a:ext>
            </a:extLst>
          </p:cNvPr>
          <p:cNvSpPr>
            <a:spLocks noGrp="1"/>
          </p:cNvSpPr>
          <p:nvPr>
            <p:ph type="title"/>
          </p:nvPr>
        </p:nvSpPr>
        <p:spPr/>
        <p:txBody>
          <a:bodyPr vert="horz"/>
          <a:lstStyle/>
          <a:p>
            <a:pPr rtl="1"/>
            <a:r>
              <a:rPr lang="ar-SA"/>
              <a:t>تجربة المستخدم</a:t>
            </a:r>
          </a:p>
        </p:txBody>
      </p:sp>
      <p:sp>
        <p:nvSpPr>
          <p:cNvPr id="37" name="Rectangle 36">
            <a:extLst>
              <a:ext uri="{FF2B5EF4-FFF2-40B4-BE49-F238E27FC236}">
                <a16:creationId xmlns:a16="http://schemas.microsoft.com/office/drawing/2014/main" id="{1D2D0787-4958-4CF2-98BA-69E253925814}"/>
              </a:ext>
            </a:extLst>
          </p:cNvPr>
          <p:cNvSpPr/>
          <p:nvPr/>
        </p:nvSpPr>
        <p:spPr>
          <a:xfrm flipH="1">
            <a:off x="503808" y="1425686"/>
            <a:ext cx="10988041" cy="2555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defRPr/>
            </a:pPr>
            <a:r>
              <a:rPr kumimoji="0" lang="ar-SA" sz="1400" b="0" i="0" u="none" strike="noStrike" cap="none" normalizeH="0" baseline="0" noProof="0">
                <a:ln>
                  <a:noFill/>
                </a:ln>
                <a:solidFill>
                  <a:schemeClr val="tx1"/>
                </a:solidFill>
                <a:effectLst/>
                <a:uLnTx/>
                <a:uFillTx/>
                <a:latin typeface="DIN Next LT Arabic"/>
                <a:ea typeface="+mn-ea"/>
                <a:cs typeface="+mn-cs"/>
              </a:rPr>
              <a:t>توفر بوابة «الشبكة الأسترالية للبنية التحتية للأبحاث الحضرية» معلومات تفصيلية إضافة إلى العديد من الأدوات لتحليل البيانات وتحويلها إلى صور مرئية، إلا أن المستخدمين قد يواجهون مشكلات في بعض الخصائص المتعلقة بقابلية الاستخدام</a:t>
            </a:r>
          </a:p>
          <a:p>
            <a:pPr marR="0" lvl="0" algn="r" defTabSz="914400" rtl="1"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a:ln>
                <a:noFill/>
              </a:ln>
              <a:solidFill>
                <a:schemeClr val="tx1"/>
              </a:solidFill>
              <a:effectLst/>
              <a:uLnTx/>
              <a:uFillTx/>
              <a:latin typeface="DIN Next LT Arabic"/>
              <a:ea typeface="+mn-ea"/>
              <a:cs typeface="+mn-cs"/>
            </a:endParaRPr>
          </a:p>
        </p:txBody>
      </p:sp>
      <p:sp>
        <p:nvSpPr>
          <p:cNvPr id="223" name="TextBox 222">
            <a:extLst>
              <a:ext uri="{FF2B5EF4-FFF2-40B4-BE49-F238E27FC236}">
                <a16:creationId xmlns:a16="http://schemas.microsoft.com/office/drawing/2014/main" id="{AF5A5B48-E9E9-4509-ABE3-38ECBD2503D0}"/>
              </a:ext>
            </a:extLst>
          </p:cNvPr>
          <p:cNvSpPr txBox="1"/>
          <p:nvPr/>
        </p:nvSpPr>
        <p:spPr>
          <a:xfrm>
            <a:off x="5296154"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224" name="Straight Connector 223">
            <a:extLst>
              <a:ext uri="{FF2B5EF4-FFF2-40B4-BE49-F238E27FC236}">
                <a16:creationId xmlns:a16="http://schemas.microsoft.com/office/drawing/2014/main" id="{2DAFAB96-128B-4841-AA25-C1B3B45D74C8}"/>
              </a:ext>
            </a:extLst>
          </p:cNvPr>
          <p:cNvCxnSpPr>
            <a:cxnSpLocks/>
          </p:cNvCxnSpPr>
          <p:nvPr/>
        </p:nvCxnSpPr>
        <p:spPr>
          <a:xfrm>
            <a:off x="2363676" y="2336276"/>
            <a:ext cx="689087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E0346046-3112-415D-8D34-15F8820F328D}"/>
              </a:ext>
            </a:extLst>
          </p:cNvPr>
          <p:cNvCxnSpPr>
            <a:cxnSpLocks/>
          </p:cNvCxnSpPr>
          <p:nvPr/>
        </p:nvCxnSpPr>
        <p:spPr>
          <a:xfrm>
            <a:off x="630300" y="2336276"/>
            <a:ext cx="168003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6" name="TextBox 225">
            <a:extLst>
              <a:ext uri="{FF2B5EF4-FFF2-40B4-BE49-F238E27FC236}">
                <a16:creationId xmlns:a16="http://schemas.microsoft.com/office/drawing/2014/main" id="{1BBBAB73-CA01-487B-8B97-423685C8A3D3}"/>
              </a:ext>
            </a:extLst>
          </p:cNvPr>
          <p:cNvSpPr txBox="1"/>
          <p:nvPr/>
        </p:nvSpPr>
        <p:spPr>
          <a:xfrm>
            <a:off x="918885" y="2046844"/>
            <a:ext cx="1102866"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تقييم</a:t>
            </a:r>
          </a:p>
        </p:txBody>
      </p:sp>
      <p:sp>
        <p:nvSpPr>
          <p:cNvPr id="227" name="Rectangle 226">
            <a:extLst>
              <a:ext uri="{FF2B5EF4-FFF2-40B4-BE49-F238E27FC236}">
                <a16:creationId xmlns:a16="http://schemas.microsoft.com/office/drawing/2014/main" id="{5A602511-497E-4EF8-B220-55C9B8C2757C}"/>
              </a:ext>
            </a:extLst>
          </p:cNvPr>
          <p:cNvSpPr/>
          <p:nvPr/>
        </p:nvSpPr>
        <p:spPr>
          <a:xfrm flipH="1">
            <a:off x="2370970" y="240723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تضمن منصة الشبكة 5,931 مجموعة بيانات تتناول ما يقرب من 2,000 موضوع</a:t>
            </a:r>
          </a:p>
        </p:txBody>
      </p:sp>
      <p:sp>
        <p:nvSpPr>
          <p:cNvPr id="228" name="Rectangle 227">
            <a:extLst>
              <a:ext uri="{FF2B5EF4-FFF2-40B4-BE49-F238E27FC236}">
                <a16:creationId xmlns:a16="http://schemas.microsoft.com/office/drawing/2014/main" id="{0EF03A22-3BD2-4878-A3D2-8496C433F19A}"/>
              </a:ext>
            </a:extLst>
          </p:cNvPr>
          <p:cNvSpPr/>
          <p:nvPr/>
        </p:nvSpPr>
        <p:spPr>
          <a:xfrm flipH="1">
            <a:off x="628199" y="2407204"/>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229" name="Rectangle 228">
            <a:extLst>
              <a:ext uri="{FF2B5EF4-FFF2-40B4-BE49-F238E27FC236}">
                <a16:creationId xmlns:a16="http://schemas.microsoft.com/office/drawing/2014/main" id="{252C5C54-D4DF-4747-B193-99282664CF71}"/>
              </a:ext>
            </a:extLst>
          </p:cNvPr>
          <p:cNvSpPr/>
          <p:nvPr/>
        </p:nvSpPr>
        <p:spPr>
          <a:xfrm flipH="1">
            <a:off x="2370970" y="297583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يجرى تحديث دوري للبيانات الواردة من أكثر من 100 مصدر مثل هيئة الإحصاء الأسترالية، ووكالة رسم </a:t>
            </a:r>
            <a:r>
              <a:rPr kumimoji="0" lang="ar-EG"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خرائط </a:t>
            </a:r>
            <a:r>
              <a:rPr kumimoji="0" lang="ar-SA" sz="11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في القطاع العام، ومنصات متابعة الممتلكات الأسترالية التابعة لشركة فيرافاكس، ومؤسسة الطرق في ولاية فيكتوريا، وشرطة ولاية فيكتوريا</a:t>
            </a:r>
          </a:p>
        </p:txBody>
      </p:sp>
      <p:sp>
        <p:nvSpPr>
          <p:cNvPr id="299" name="Rectangle 298">
            <a:extLst>
              <a:ext uri="{FF2B5EF4-FFF2-40B4-BE49-F238E27FC236}">
                <a16:creationId xmlns:a16="http://schemas.microsoft.com/office/drawing/2014/main" id="{83F9ACAC-50AB-4E12-9326-6CD14E5D9C88}"/>
              </a:ext>
            </a:extLst>
          </p:cNvPr>
          <p:cNvSpPr/>
          <p:nvPr/>
        </p:nvSpPr>
        <p:spPr>
          <a:xfrm flipH="1">
            <a:off x="2370970" y="354444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حتوي منصة عمل «الشبكة الأسترالية للبنية التحتية للأبحاث الحضرية» على مجموعة شاملة من أدوات تحويل البيانات إلى صور مرئية المستخدمة في تحليل البيانات المكانية</a:t>
            </a:r>
          </a:p>
        </p:txBody>
      </p:sp>
      <p:sp>
        <p:nvSpPr>
          <p:cNvPr id="300" name="Rectangle 299">
            <a:extLst>
              <a:ext uri="{FF2B5EF4-FFF2-40B4-BE49-F238E27FC236}">
                <a16:creationId xmlns:a16="http://schemas.microsoft.com/office/drawing/2014/main" id="{A6D9B8B8-DE3F-4429-B240-AAA6C0DFC33B}"/>
              </a:ext>
            </a:extLst>
          </p:cNvPr>
          <p:cNvSpPr/>
          <p:nvPr/>
        </p:nvSpPr>
        <p:spPr>
          <a:xfrm flipH="1">
            <a:off x="2370970" y="411304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لا توجد معلومات حول سياسة قابلية الاستخدام بل ولا توجد هذه الخصائص على البوابة</a:t>
            </a:r>
          </a:p>
        </p:txBody>
      </p:sp>
      <p:sp>
        <p:nvSpPr>
          <p:cNvPr id="301" name="Rectangle 300">
            <a:extLst>
              <a:ext uri="{FF2B5EF4-FFF2-40B4-BE49-F238E27FC236}">
                <a16:creationId xmlns:a16="http://schemas.microsoft.com/office/drawing/2014/main" id="{186E773B-C3CB-486D-8408-AF007FBE2676}"/>
              </a:ext>
            </a:extLst>
          </p:cNvPr>
          <p:cNvSpPr/>
          <p:nvPr/>
        </p:nvSpPr>
        <p:spPr>
          <a:xfrm flipH="1">
            <a:off x="2370970" y="4681651"/>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خضع أحدث إصدار من منصة الشبكة أيضاً لعملية كبيرة لإعادة بناء التعليمات البرمجية في واجهة المستخدم وتمت إزالة العديد من الأدوات </a:t>
            </a:r>
            <a:r>
              <a:rPr kumimoji="0" lang="ar-EG"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تي يندر استخدامها</a:t>
            </a: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مما يحافظ على بنية </a:t>
            </a:r>
            <a:r>
              <a:rPr kumimoji="0" lang="ar-EG"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متناسقة </a:t>
            </a: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من الناحية المرئية</a:t>
            </a:r>
          </a:p>
        </p:txBody>
      </p:sp>
      <p:sp>
        <p:nvSpPr>
          <p:cNvPr id="302" name="Rectangle 301">
            <a:extLst>
              <a:ext uri="{FF2B5EF4-FFF2-40B4-BE49-F238E27FC236}">
                <a16:creationId xmlns:a16="http://schemas.microsoft.com/office/drawing/2014/main" id="{C3CE363E-9C2E-4FB3-AB68-5A82856395B5}"/>
              </a:ext>
            </a:extLst>
          </p:cNvPr>
          <p:cNvSpPr/>
          <p:nvPr/>
        </p:nvSpPr>
        <p:spPr>
          <a:xfrm flipH="1">
            <a:off x="2370970" y="5250256"/>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واجهة المستخدم تفاعلية وتتيح سهولة التنقل بالنسبة لتقسيم المناطق الإدارية ومدعومة ببنية بيانات رسومية،</a:t>
            </a:r>
            <a:r>
              <a:rPr kumimoji="0" lang="ar-EG"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ويوجد </a:t>
            </a: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ربط بين عرض الخرائط ولوحة التنقل </a:t>
            </a:r>
            <a:r>
              <a:rPr kumimoji="0" lang="ar-EG"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مما يتيح </a:t>
            </a: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طرقاً متعددة للتفاعل</a:t>
            </a:r>
          </a:p>
        </p:txBody>
      </p:sp>
      <p:sp>
        <p:nvSpPr>
          <p:cNvPr id="303" name="Rectangle 302">
            <a:extLst>
              <a:ext uri="{FF2B5EF4-FFF2-40B4-BE49-F238E27FC236}">
                <a16:creationId xmlns:a16="http://schemas.microsoft.com/office/drawing/2014/main" id="{69F24BD3-FA75-427F-870E-4D0D74602964}"/>
              </a:ext>
            </a:extLst>
          </p:cNvPr>
          <p:cNvSpPr/>
          <p:nvPr/>
        </p:nvSpPr>
        <p:spPr>
          <a:xfrm flipH="1">
            <a:off x="2370970" y="5818864"/>
            <a:ext cx="6876346"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rgbClr val="282560"/>
                </a:solidFill>
                <a:latin typeface="DIN Next LT Arabic (Body)"/>
                <a:sym typeface="Effra" panose="02000506080000020004" pitchFamily="2" charset="0"/>
              </a:rPr>
              <a:t>يمكن من خلال الواجهة إتمام جميع عمليات اختيار المناطق الجغرافية المكانية، و</a:t>
            </a:r>
            <a:r>
              <a:rPr lang="ar-EG" sz="1200">
                <a:solidFill>
                  <a:srgbClr val="282560"/>
                </a:solidFill>
                <a:latin typeface="DIN Next LT Arabic (Body)"/>
                <a:sym typeface="Effra" panose="02000506080000020004" pitchFamily="2" charset="0"/>
              </a:rPr>
              <a:t>استكشاف </a:t>
            </a:r>
            <a:r>
              <a:rPr lang="ar-SA" sz="1200">
                <a:solidFill>
                  <a:srgbClr val="282560"/>
                </a:solidFill>
                <a:latin typeface="DIN Next LT Arabic (Body)"/>
                <a:sym typeface="Effra" panose="02000506080000020004" pitchFamily="2" charset="0"/>
              </a:rPr>
              <a:t>البيانات، وطلب البيانات، والحصول على البيانات، وتحليل البيانات وتحويلها إلى صور مرئية</a:t>
            </a:r>
          </a:p>
        </p:txBody>
      </p:sp>
      <p:sp>
        <p:nvSpPr>
          <p:cNvPr id="304" name="Rectangle 303">
            <a:extLst>
              <a:ext uri="{FF2B5EF4-FFF2-40B4-BE49-F238E27FC236}">
                <a16:creationId xmlns:a16="http://schemas.microsoft.com/office/drawing/2014/main" id="{E8756654-7F7E-40F7-ADAD-969BFC6899C7}"/>
              </a:ext>
            </a:extLst>
          </p:cNvPr>
          <p:cNvSpPr/>
          <p:nvPr/>
        </p:nvSpPr>
        <p:spPr>
          <a:xfrm flipH="1">
            <a:off x="628199" y="29758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5" name="Rectangle 304">
            <a:extLst>
              <a:ext uri="{FF2B5EF4-FFF2-40B4-BE49-F238E27FC236}">
                <a16:creationId xmlns:a16="http://schemas.microsoft.com/office/drawing/2014/main" id="{68890123-BCAE-40D8-9406-45EA8EBA9DED}"/>
              </a:ext>
            </a:extLst>
          </p:cNvPr>
          <p:cNvSpPr/>
          <p:nvPr/>
        </p:nvSpPr>
        <p:spPr>
          <a:xfrm flipH="1">
            <a:off x="628199" y="354450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6" name="Rectangle 305">
            <a:extLst>
              <a:ext uri="{FF2B5EF4-FFF2-40B4-BE49-F238E27FC236}">
                <a16:creationId xmlns:a16="http://schemas.microsoft.com/office/drawing/2014/main" id="{F10FCE9A-1361-4E17-A24A-29E5D69FB374}"/>
              </a:ext>
            </a:extLst>
          </p:cNvPr>
          <p:cNvSpPr/>
          <p:nvPr/>
        </p:nvSpPr>
        <p:spPr>
          <a:xfrm flipH="1">
            <a:off x="628199" y="4113153"/>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7" name="Rectangle 306">
            <a:extLst>
              <a:ext uri="{FF2B5EF4-FFF2-40B4-BE49-F238E27FC236}">
                <a16:creationId xmlns:a16="http://schemas.microsoft.com/office/drawing/2014/main" id="{EBE3264E-09D2-4305-A740-9F283E0D8903}"/>
              </a:ext>
            </a:extLst>
          </p:cNvPr>
          <p:cNvSpPr/>
          <p:nvPr/>
        </p:nvSpPr>
        <p:spPr>
          <a:xfrm flipH="1">
            <a:off x="628199" y="4681802"/>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8" name="Rectangle 307">
            <a:extLst>
              <a:ext uri="{FF2B5EF4-FFF2-40B4-BE49-F238E27FC236}">
                <a16:creationId xmlns:a16="http://schemas.microsoft.com/office/drawing/2014/main" id="{F29070D8-55FE-4462-9B8E-3C7036C0FD9B}"/>
              </a:ext>
            </a:extLst>
          </p:cNvPr>
          <p:cNvSpPr/>
          <p:nvPr/>
        </p:nvSpPr>
        <p:spPr>
          <a:xfrm flipH="1">
            <a:off x="628199" y="525045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309" name="Rectangle 308">
            <a:extLst>
              <a:ext uri="{FF2B5EF4-FFF2-40B4-BE49-F238E27FC236}">
                <a16:creationId xmlns:a16="http://schemas.microsoft.com/office/drawing/2014/main" id="{37441FC6-EFA6-4389-BB91-25F7CE7D6351}"/>
              </a:ext>
            </a:extLst>
          </p:cNvPr>
          <p:cNvSpPr/>
          <p:nvPr/>
        </p:nvSpPr>
        <p:spPr>
          <a:xfrm flipH="1">
            <a:off x="628199" y="5819101"/>
            <a:ext cx="1677542" cy="516022"/>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R="0" lvl="0" algn="r" defTabSz="914400" rtl="1" eaLnBrk="1" fontAlgn="auto" latinLnBrk="0" hangingPunct="1">
              <a:lnSpc>
                <a:spcPct val="100000"/>
              </a:lnSpc>
              <a:spcBef>
                <a:spcPts val="0"/>
              </a:spcBef>
              <a:spcAft>
                <a:spcPts val="0"/>
              </a:spcAft>
              <a:buClrTx/>
              <a:buSzTx/>
              <a:tabLst/>
              <a:defRPr/>
            </a:pPr>
            <a:endParaRPr lang="en-US" sz="1100">
              <a:solidFill>
                <a:schemeClr val="tx1"/>
              </a:solidFill>
              <a:latin typeface="DIN Next LT Arabic (Body)"/>
              <a:sym typeface="Effra" panose="02000506080000020004" pitchFamily="2" charset="0"/>
            </a:endParaRPr>
          </a:p>
        </p:txBody>
      </p:sp>
      <p:sp>
        <p:nvSpPr>
          <p:cNvPr id="166" name="Rectangle 165">
            <a:extLst>
              <a:ext uri="{FF2B5EF4-FFF2-40B4-BE49-F238E27FC236}">
                <a16:creationId xmlns:a16="http://schemas.microsoft.com/office/drawing/2014/main" id="{DA0CC97A-D239-48B1-9239-C36E9345D698}"/>
              </a:ext>
            </a:extLst>
          </p:cNvPr>
          <p:cNvSpPr/>
          <p:nvPr/>
        </p:nvSpPr>
        <p:spPr>
          <a:xfrm flipH="1">
            <a:off x="9303735" y="4112544"/>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قابلية الاستخدام</a:t>
            </a:r>
          </a:p>
        </p:txBody>
      </p:sp>
      <p:sp>
        <p:nvSpPr>
          <p:cNvPr id="167" name="Rectangle 166">
            <a:extLst>
              <a:ext uri="{FF2B5EF4-FFF2-40B4-BE49-F238E27FC236}">
                <a16:creationId xmlns:a16="http://schemas.microsoft.com/office/drawing/2014/main" id="{C1B299F1-D862-4F5E-AB03-1F79AC82E537}"/>
              </a:ext>
            </a:extLst>
          </p:cNvPr>
          <p:cNvSpPr/>
          <p:nvPr/>
        </p:nvSpPr>
        <p:spPr>
          <a:xfrm flipH="1">
            <a:off x="9303735" y="468127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تناسق المرئي</a:t>
            </a:r>
          </a:p>
        </p:txBody>
      </p:sp>
      <p:sp>
        <p:nvSpPr>
          <p:cNvPr id="168" name="Rectangle 167">
            <a:extLst>
              <a:ext uri="{FF2B5EF4-FFF2-40B4-BE49-F238E27FC236}">
                <a16:creationId xmlns:a16="http://schemas.microsoft.com/office/drawing/2014/main" id="{6A2D7B15-6A00-4C4A-8EE2-A3F3C420F6DA}"/>
              </a:ext>
            </a:extLst>
          </p:cNvPr>
          <p:cNvSpPr/>
          <p:nvPr/>
        </p:nvSpPr>
        <p:spPr>
          <a:xfrm flipH="1">
            <a:off x="9303735" y="3543811"/>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أدوات تحويل </a:t>
            </a:r>
            <a:br>
              <a:rPr lang="ar-EG" sz="1200"/>
            </a:br>
            <a:r>
              <a:rPr lang="ar-SA" sz="1200"/>
              <a:t>البيانات إلى صور مرئية</a:t>
            </a:r>
          </a:p>
        </p:txBody>
      </p:sp>
      <p:sp>
        <p:nvSpPr>
          <p:cNvPr id="169" name="Rectangle 168">
            <a:extLst>
              <a:ext uri="{FF2B5EF4-FFF2-40B4-BE49-F238E27FC236}">
                <a16:creationId xmlns:a16="http://schemas.microsoft.com/office/drawing/2014/main" id="{5EE99AE3-1DFD-46F8-8DEE-A3656D148FEE}"/>
              </a:ext>
            </a:extLst>
          </p:cNvPr>
          <p:cNvSpPr/>
          <p:nvPr/>
        </p:nvSpPr>
        <p:spPr>
          <a:xfrm flipH="1">
            <a:off x="9303735" y="525001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سهولة التنقل</a:t>
            </a:r>
          </a:p>
        </p:txBody>
      </p:sp>
      <p:sp>
        <p:nvSpPr>
          <p:cNvPr id="171" name="Rectangle 170">
            <a:extLst>
              <a:ext uri="{FF2B5EF4-FFF2-40B4-BE49-F238E27FC236}">
                <a16:creationId xmlns:a16="http://schemas.microsoft.com/office/drawing/2014/main" id="{B17F1E00-469D-4163-93E4-C13FDD0DA1D6}"/>
              </a:ext>
            </a:extLst>
          </p:cNvPr>
          <p:cNvSpPr/>
          <p:nvPr/>
        </p:nvSpPr>
        <p:spPr>
          <a:xfrm flipH="1">
            <a:off x="9303735" y="2406346"/>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شمولية البيانات</a:t>
            </a:r>
          </a:p>
        </p:txBody>
      </p:sp>
      <p:sp>
        <p:nvSpPr>
          <p:cNvPr id="172" name="Rectangle 171">
            <a:extLst>
              <a:ext uri="{FF2B5EF4-FFF2-40B4-BE49-F238E27FC236}">
                <a16:creationId xmlns:a16="http://schemas.microsoft.com/office/drawing/2014/main" id="{9F09B7AF-EB63-4EAF-9D70-C416BB6F638F}"/>
              </a:ext>
            </a:extLst>
          </p:cNvPr>
          <p:cNvSpPr/>
          <p:nvPr/>
        </p:nvSpPr>
        <p:spPr>
          <a:xfrm flipH="1">
            <a:off x="9303735" y="2975079"/>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مصداقية والتحديث</a:t>
            </a:r>
          </a:p>
        </p:txBody>
      </p:sp>
      <p:sp>
        <p:nvSpPr>
          <p:cNvPr id="173" name="Rectangle 172">
            <a:extLst>
              <a:ext uri="{FF2B5EF4-FFF2-40B4-BE49-F238E27FC236}">
                <a16:creationId xmlns:a16="http://schemas.microsoft.com/office/drawing/2014/main" id="{9239DE4F-2649-4EA1-A587-EDF82B0E72CB}"/>
              </a:ext>
            </a:extLst>
          </p:cNvPr>
          <p:cNvSpPr/>
          <p:nvPr/>
        </p:nvSpPr>
        <p:spPr>
          <a:xfrm flipH="1">
            <a:off x="9303735" y="5817737"/>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سهولة الاستخدام</a:t>
            </a:r>
          </a:p>
        </p:txBody>
      </p:sp>
      <p:sp>
        <p:nvSpPr>
          <p:cNvPr id="174" name="TextBox 173">
            <a:extLst>
              <a:ext uri="{FF2B5EF4-FFF2-40B4-BE49-F238E27FC236}">
                <a16:creationId xmlns:a16="http://schemas.microsoft.com/office/drawing/2014/main" id="{2D60CBC9-FF97-4D2D-B58C-6F206B36F1CD}"/>
              </a:ext>
            </a:extLst>
          </p:cNvPr>
          <p:cNvSpPr txBox="1"/>
          <p:nvPr/>
        </p:nvSpPr>
        <p:spPr>
          <a:xfrm>
            <a:off x="9896232"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مقياس</a:t>
            </a:r>
          </a:p>
        </p:txBody>
      </p:sp>
      <p:cxnSp>
        <p:nvCxnSpPr>
          <p:cNvPr id="175" name="Straight Connector 174">
            <a:extLst>
              <a:ext uri="{FF2B5EF4-FFF2-40B4-BE49-F238E27FC236}">
                <a16:creationId xmlns:a16="http://schemas.microsoft.com/office/drawing/2014/main" id="{E7D65F92-F0A0-4A25-9F37-224E4AC88241}"/>
              </a:ext>
            </a:extLst>
          </p:cNvPr>
          <p:cNvCxnSpPr>
            <a:cxnSpLocks/>
          </p:cNvCxnSpPr>
          <p:nvPr/>
        </p:nvCxnSpPr>
        <p:spPr>
          <a:xfrm>
            <a:off x="9310576" y="2336276"/>
            <a:ext cx="22352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76" name="Graphic 18">
            <a:extLst>
              <a:ext uri="{FF2B5EF4-FFF2-40B4-BE49-F238E27FC236}">
                <a16:creationId xmlns:a16="http://schemas.microsoft.com/office/drawing/2014/main" id="{A6E69619-9502-4FC8-BB2D-2158E7A0113F}"/>
              </a:ext>
            </a:extLst>
          </p:cNvPr>
          <p:cNvGrpSpPr/>
          <p:nvPr/>
        </p:nvGrpSpPr>
        <p:grpSpPr>
          <a:xfrm flipH="1">
            <a:off x="9450829" y="5367105"/>
            <a:ext cx="297228" cy="297262"/>
            <a:chOff x="304679" y="4048945"/>
            <a:chExt cx="266739" cy="266769"/>
          </a:xfrm>
          <a:solidFill>
            <a:schemeClr val="bg1"/>
          </a:solidFill>
        </p:grpSpPr>
        <p:sp>
          <p:nvSpPr>
            <p:cNvPr id="177" name="Freeform: Shape 176">
              <a:extLst>
                <a:ext uri="{FF2B5EF4-FFF2-40B4-BE49-F238E27FC236}">
                  <a16:creationId xmlns:a16="http://schemas.microsoft.com/office/drawing/2014/main" id="{538B7786-ACEA-4941-B477-0504CF4D931C}"/>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algn="r" rtl="1"/>
              <a:endParaRPr lang="en-US"/>
            </a:p>
          </p:txBody>
        </p:sp>
        <p:sp>
          <p:nvSpPr>
            <p:cNvPr id="190" name="Freeform: Shape 189">
              <a:extLst>
                <a:ext uri="{FF2B5EF4-FFF2-40B4-BE49-F238E27FC236}">
                  <a16:creationId xmlns:a16="http://schemas.microsoft.com/office/drawing/2014/main" id="{4329EF81-BC26-4404-8D42-1161A5DC0204}"/>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algn="r" rtl="1"/>
              <a:endParaRPr lang="en-US"/>
            </a:p>
          </p:txBody>
        </p:sp>
        <p:sp>
          <p:nvSpPr>
            <p:cNvPr id="194" name="Freeform: Shape 193">
              <a:extLst>
                <a:ext uri="{FF2B5EF4-FFF2-40B4-BE49-F238E27FC236}">
                  <a16:creationId xmlns:a16="http://schemas.microsoft.com/office/drawing/2014/main" id="{8B93FF7C-4CE9-4863-99CB-B1D55F0CC84B}"/>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algn="r" rtl="1"/>
              <a:endParaRPr lang="en-US"/>
            </a:p>
          </p:txBody>
        </p:sp>
        <p:sp>
          <p:nvSpPr>
            <p:cNvPr id="195" name="Freeform: Shape 194">
              <a:extLst>
                <a:ext uri="{FF2B5EF4-FFF2-40B4-BE49-F238E27FC236}">
                  <a16:creationId xmlns:a16="http://schemas.microsoft.com/office/drawing/2014/main" id="{9E58F637-DB22-43CE-8E26-C18A6D664FE2}"/>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algn="r" rtl="1"/>
              <a:endParaRPr lang="en-US"/>
            </a:p>
          </p:txBody>
        </p:sp>
        <p:sp>
          <p:nvSpPr>
            <p:cNvPr id="196" name="Freeform: Shape 195">
              <a:extLst>
                <a:ext uri="{FF2B5EF4-FFF2-40B4-BE49-F238E27FC236}">
                  <a16:creationId xmlns:a16="http://schemas.microsoft.com/office/drawing/2014/main" id="{DF54B551-FABA-4655-B551-5319770FD630}"/>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algn="r" rtl="1"/>
              <a:endParaRPr lang="en-US"/>
            </a:p>
          </p:txBody>
        </p:sp>
      </p:grpSp>
      <p:pic>
        <p:nvPicPr>
          <p:cNvPr id="197" name="Graphic 196">
            <a:extLst>
              <a:ext uri="{FF2B5EF4-FFF2-40B4-BE49-F238E27FC236}">
                <a16:creationId xmlns:a16="http://schemas.microsoft.com/office/drawing/2014/main" id="{4C37234B-69DE-49EF-A71F-5D89834410E4}"/>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b="20926"/>
          <a:stretch>
            <a:fillRect/>
          </a:stretch>
        </p:blipFill>
        <p:spPr>
          <a:xfrm flipH="1">
            <a:off x="9393221" y="4183559"/>
            <a:ext cx="412444" cy="407670"/>
          </a:xfrm>
          <a:custGeom>
            <a:avLst/>
            <a:gdLst>
              <a:gd name="connsiteX0" fmla="*/ 0 w 412444"/>
              <a:gd name="connsiteY0" fmla="*/ 0 h 407670"/>
              <a:gd name="connsiteX1" fmla="*/ 412444 w 412444"/>
              <a:gd name="connsiteY1" fmla="*/ 0 h 407670"/>
              <a:gd name="connsiteX2" fmla="*/ 412444 w 412444"/>
              <a:gd name="connsiteY2" fmla="*/ 407670 h 407670"/>
              <a:gd name="connsiteX3" fmla="*/ 0 w 412444"/>
              <a:gd name="connsiteY3" fmla="*/ 407670 h 407670"/>
            </a:gdLst>
            <a:ahLst/>
            <a:cxnLst>
              <a:cxn ang="0">
                <a:pos x="connsiteX0" y="connsiteY0"/>
              </a:cxn>
              <a:cxn ang="0">
                <a:pos x="connsiteX1" y="connsiteY1"/>
              </a:cxn>
              <a:cxn ang="0">
                <a:pos x="connsiteX2" y="connsiteY2"/>
              </a:cxn>
              <a:cxn ang="0">
                <a:pos x="connsiteX3" y="connsiteY3"/>
              </a:cxn>
            </a:cxnLst>
            <a:rect l="l" t="t" r="r" b="b"/>
            <a:pathLst>
              <a:path w="412444" h="407670">
                <a:moveTo>
                  <a:pt x="0" y="0"/>
                </a:moveTo>
                <a:lnTo>
                  <a:pt x="412444" y="0"/>
                </a:lnTo>
                <a:lnTo>
                  <a:pt x="412444" y="407670"/>
                </a:lnTo>
                <a:lnTo>
                  <a:pt x="0" y="407670"/>
                </a:lnTo>
                <a:close/>
              </a:path>
            </a:pathLst>
          </a:custGeom>
        </p:spPr>
      </p:pic>
      <p:pic>
        <p:nvPicPr>
          <p:cNvPr id="198" name="Graphic 197">
            <a:extLst>
              <a:ext uri="{FF2B5EF4-FFF2-40B4-BE49-F238E27FC236}">
                <a16:creationId xmlns:a16="http://schemas.microsoft.com/office/drawing/2014/main" id="{1912BF7D-AAEC-4B23-9BBC-244749DD17D5}"/>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b="13196"/>
          <a:stretch>
            <a:fillRect/>
          </a:stretch>
        </p:blipFill>
        <p:spPr>
          <a:xfrm flipH="1">
            <a:off x="9444746" y="2545723"/>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grpSp>
        <p:nvGrpSpPr>
          <p:cNvPr id="199" name="Graphic 210">
            <a:extLst>
              <a:ext uri="{FF2B5EF4-FFF2-40B4-BE49-F238E27FC236}">
                <a16:creationId xmlns:a16="http://schemas.microsoft.com/office/drawing/2014/main" id="{B9267664-838A-487A-863F-EC9E27501687}"/>
              </a:ext>
            </a:extLst>
          </p:cNvPr>
          <p:cNvGrpSpPr/>
          <p:nvPr/>
        </p:nvGrpSpPr>
        <p:grpSpPr>
          <a:xfrm flipH="1">
            <a:off x="9468669" y="3087897"/>
            <a:ext cx="261547" cy="283777"/>
            <a:chOff x="-455920" y="3286075"/>
            <a:chExt cx="834542" cy="905472"/>
          </a:xfrm>
          <a:solidFill>
            <a:schemeClr val="bg1"/>
          </a:solidFill>
        </p:grpSpPr>
        <p:sp>
          <p:nvSpPr>
            <p:cNvPr id="200" name="Freeform: Shape 199">
              <a:extLst>
                <a:ext uri="{FF2B5EF4-FFF2-40B4-BE49-F238E27FC236}">
                  <a16:creationId xmlns:a16="http://schemas.microsoft.com/office/drawing/2014/main" id="{7D39870B-4966-4037-8C89-8DCFBA315C4E}"/>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algn="r" rtl="1"/>
              <a:endParaRPr lang="en-US"/>
            </a:p>
          </p:txBody>
        </p:sp>
        <p:sp>
          <p:nvSpPr>
            <p:cNvPr id="201" name="Freeform: Shape 200">
              <a:extLst>
                <a:ext uri="{FF2B5EF4-FFF2-40B4-BE49-F238E27FC236}">
                  <a16:creationId xmlns:a16="http://schemas.microsoft.com/office/drawing/2014/main" id="{08B2D18A-5C83-4D2F-B6A0-3B9D6F3170A7}"/>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algn="r" rtl="1"/>
              <a:endParaRPr lang="en-US"/>
            </a:p>
          </p:txBody>
        </p:sp>
        <p:sp>
          <p:nvSpPr>
            <p:cNvPr id="202" name="Freeform: Shape 201">
              <a:extLst>
                <a:ext uri="{FF2B5EF4-FFF2-40B4-BE49-F238E27FC236}">
                  <a16:creationId xmlns:a16="http://schemas.microsoft.com/office/drawing/2014/main" id="{652BA49C-68DE-45F0-AFF3-4CA27ACD5690}"/>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algn="r" rtl="1"/>
              <a:endParaRPr lang="en-US"/>
            </a:p>
          </p:txBody>
        </p:sp>
        <p:sp>
          <p:nvSpPr>
            <p:cNvPr id="203" name="Freeform: Shape 202">
              <a:extLst>
                <a:ext uri="{FF2B5EF4-FFF2-40B4-BE49-F238E27FC236}">
                  <a16:creationId xmlns:a16="http://schemas.microsoft.com/office/drawing/2014/main" id="{467EFF67-4518-4EFA-8742-D62D4E74FB6B}"/>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algn="r" rtl="1"/>
              <a:endParaRPr lang="en-US"/>
            </a:p>
          </p:txBody>
        </p:sp>
        <p:sp>
          <p:nvSpPr>
            <p:cNvPr id="204" name="Freeform: Shape 203">
              <a:extLst>
                <a:ext uri="{FF2B5EF4-FFF2-40B4-BE49-F238E27FC236}">
                  <a16:creationId xmlns:a16="http://schemas.microsoft.com/office/drawing/2014/main" id="{769082A8-2BAE-4498-9AF3-47FB4FE36368}"/>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algn="r" rtl="1"/>
              <a:endParaRPr lang="en-US"/>
            </a:p>
          </p:txBody>
        </p:sp>
        <p:sp>
          <p:nvSpPr>
            <p:cNvPr id="205" name="Freeform: Shape 204">
              <a:extLst>
                <a:ext uri="{FF2B5EF4-FFF2-40B4-BE49-F238E27FC236}">
                  <a16:creationId xmlns:a16="http://schemas.microsoft.com/office/drawing/2014/main" id="{DC6CF870-EA5E-4C80-8BDA-8C168456B3CE}"/>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algn="r" rtl="1"/>
              <a:endParaRPr lang="en-US"/>
            </a:p>
          </p:txBody>
        </p:sp>
        <p:sp>
          <p:nvSpPr>
            <p:cNvPr id="206" name="Freeform: Shape 205">
              <a:extLst>
                <a:ext uri="{FF2B5EF4-FFF2-40B4-BE49-F238E27FC236}">
                  <a16:creationId xmlns:a16="http://schemas.microsoft.com/office/drawing/2014/main" id="{E739E54F-E055-45AD-908B-725D6AB3CE9F}"/>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algn="r" rtl="1"/>
              <a:endParaRPr lang="en-US"/>
            </a:p>
          </p:txBody>
        </p:sp>
        <p:sp>
          <p:nvSpPr>
            <p:cNvPr id="207" name="Freeform: Shape 206">
              <a:extLst>
                <a:ext uri="{FF2B5EF4-FFF2-40B4-BE49-F238E27FC236}">
                  <a16:creationId xmlns:a16="http://schemas.microsoft.com/office/drawing/2014/main" id="{B6898C91-D659-4524-BCD0-6870D4A3CFBE}"/>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algn="r" rtl="1"/>
              <a:endParaRPr lang="en-US"/>
            </a:p>
          </p:txBody>
        </p:sp>
        <p:sp>
          <p:nvSpPr>
            <p:cNvPr id="208" name="Freeform: Shape 207">
              <a:extLst>
                <a:ext uri="{FF2B5EF4-FFF2-40B4-BE49-F238E27FC236}">
                  <a16:creationId xmlns:a16="http://schemas.microsoft.com/office/drawing/2014/main" id="{2CAB5E9A-76E8-4446-A9CB-9D2AA7FB6CA5}"/>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algn="r" rtl="1"/>
              <a:endParaRPr lang="en-US"/>
            </a:p>
          </p:txBody>
        </p:sp>
        <p:sp>
          <p:nvSpPr>
            <p:cNvPr id="209" name="Freeform: Shape 208">
              <a:extLst>
                <a:ext uri="{FF2B5EF4-FFF2-40B4-BE49-F238E27FC236}">
                  <a16:creationId xmlns:a16="http://schemas.microsoft.com/office/drawing/2014/main" id="{B02B15F7-487F-4013-9098-E2D5BBACE059}"/>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algn="r" rtl="1"/>
              <a:endParaRPr lang="en-US"/>
            </a:p>
          </p:txBody>
        </p:sp>
      </p:grpSp>
      <p:grpSp>
        <p:nvGrpSpPr>
          <p:cNvPr id="210" name="Graphic 113">
            <a:extLst>
              <a:ext uri="{FF2B5EF4-FFF2-40B4-BE49-F238E27FC236}">
                <a16:creationId xmlns:a16="http://schemas.microsoft.com/office/drawing/2014/main" id="{00475A97-8E90-4D6D-8DF1-7F33AB962D8C}"/>
              </a:ext>
            </a:extLst>
          </p:cNvPr>
          <p:cNvGrpSpPr/>
          <p:nvPr/>
        </p:nvGrpSpPr>
        <p:grpSpPr>
          <a:xfrm flipH="1">
            <a:off x="9446854" y="4792987"/>
            <a:ext cx="305178" cy="305178"/>
            <a:chOff x="-370522" y="3312547"/>
            <a:chExt cx="857249" cy="857250"/>
          </a:xfrm>
          <a:solidFill>
            <a:schemeClr val="bg1"/>
          </a:solidFill>
        </p:grpSpPr>
        <p:sp>
          <p:nvSpPr>
            <p:cNvPr id="211" name="Freeform: Shape 210">
              <a:extLst>
                <a:ext uri="{FF2B5EF4-FFF2-40B4-BE49-F238E27FC236}">
                  <a16:creationId xmlns:a16="http://schemas.microsoft.com/office/drawing/2014/main" id="{C68027AF-8B76-4C1A-B93F-3120230AA1A7}"/>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algn="r" rtl="1"/>
              <a:endParaRPr lang="en-US"/>
            </a:p>
          </p:txBody>
        </p:sp>
        <p:sp>
          <p:nvSpPr>
            <p:cNvPr id="212" name="Freeform: Shape 211">
              <a:extLst>
                <a:ext uri="{FF2B5EF4-FFF2-40B4-BE49-F238E27FC236}">
                  <a16:creationId xmlns:a16="http://schemas.microsoft.com/office/drawing/2014/main" id="{38DFADC9-EA4C-4F55-B76D-E46C25B78A57}"/>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algn="r" rtl="1"/>
              <a:endParaRPr lang="en-US"/>
            </a:p>
          </p:txBody>
        </p:sp>
        <p:sp>
          <p:nvSpPr>
            <p:cNvPr id="213" name="Freeform: Shape 212">
              <a:extLst>
                <a:ext uri="{FF2B5EF4-FFF2-40B4-BE49-F238E27FC236}">
                  <a16:creationId xmlns:a16="http://schemas.microsoft.com/office/drawing/2014/main" id="{77EF8F4C-4894-4AF9-BE0A-D1EBD6400F7F}"/>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algn="r" rtl="1"/>
              <a:endParaRPr lang="en-US"/>
            </a:p>
          </p:txBody>
        </p:sp>
        <p:sp>
          <p:nvSpPr>
            <p:cNvPr id="214" name="Freeform: Shape 213">
              <a:extLst>
                <a:ext uri="{FF2B5EF4-FFF2-40B4-BE49-F238E27FC236}">
                  <a16:creationId xmlns:a16="http://schemas.microsoft.com/office/drawing/2014/main" id="{6CBAE30B-3A98-4BE5-BF06-39BEEB834F4A}"/>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algn="r" rtl="1"/>
              <a:endParaRPr lang="en-US"/>
            </a:p>
          </p:txBody>
        </p:sp>
        <p:sp>
          <p:nvSpPr>
            <p:cNvPr id="215" name="Freeform: Shape 214">
              <a:extLst>
                <a:ext uri="{FF2B5EF4-FFF2-40B4-BE49-F238E27FC236}">
                  <a16:creationId xmlns:a16="http://schemas.microsoft.com/office/drawing/2014/main" id="{DAD5CE15-6C3D-4D06-9578-8293068FC8F7}"/>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sp>
          <p:nvSpPr>
            <p:cNvPr id="216" name="Freeform: Shape 215">
              <a:extLst>
                <a:ext uri="{FF2B5EF4-FFF2-40B4-BE49-F238E27FC236}">
                  <a16:creationId xmlns:a16="http://schemas.microsoft.com/office/drawing/2014/main" id="{4DC98E48-D440-447E-9DE0-FA36630D16CB}"/>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algn="r" rtl="1"/>
              <a:endParaRPr lang="en-US"/>
            </a:p>
          </p:txBody>
        </p:sp>
        <p:sp>
          <p:nvSpPr>
            <p:cNvPr id="217" name="Freeform: Shape 216">
              <a:extLst>
                <a:ext uri="{FF2B5EF4-FFF2-40B4-BE49-F238E27FC236}">
                  <a16:creationId xmlns:a16="http://schemas.microsoft.com/office/drawing/2014/main" id="{15CE358C-41A7-49B7-BD5C-91BFCE2AABCD}"/>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grpSp>
      <p:sp>
        <p:nvSpPr>
          <p:cNvPr id="218" name="TextBox 217">
            <a:extLst>
              <a:ext uri="{FF2B5EF4-FFF2-40B4-BE49-F238E27FC236}">
                <a16:creationId xmlns:a16="http://schemas.microsoft.com/office/drawing/2014/main" id="{42B23346-EEFB-41AF-B93E-46BAE04CB291}"/>
              </a:ext>
            </a:extLst>
          </p:cNvPr>
          <p:cNvSpPr txBox="1"/>
          <p:nvPr/>
        </p:nvSpPr>
        <p:spPr>
          <a:xfrm>
            <a:off x="11332296" y="2540632"/>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أ</a:t>
            </a:r>
          </a:p>
        </p:txBody>
      </p:sp>
      <p:sp>
        <p:nvSpPr>
          <p:cNvPr id="230" name="TextBox 229">
            <a:extLst>
              <a:ext uri="{FF2B5EF4-FFF2-40B4-BE49-F238E27FC236}">
                <a16:creationId xmlns:a16="http://schemas.microsoft.com/office/drawing/2014/main" id="{A4420FD1-B82A-4DB6-902B-F8A2CDF983BB}"/>
              </a:ext>
            </a:extLst>
          </p:cNvPr>
          <p:cNvSpPr txBox="1"/>
          <p:nvPr/>
        </p:nvSpPr>
        <p:spPr>
          <a:xfrm>
            <a:off x="11332296" y="3094474"/>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ب</a:t>
            </a:r>
          </a:p>
        </p:txBody>
      </p:sp>
      <p:sp>
        <p:nvSpPr>
          <p:cNvPr id="231" name="TextBox 230">
            <a:extLst>
              <a:ext uri="{FF2B5EF4-FFF2-40B4-BE49-F238E27FC236}">
                <a16:creationId xmlns:a16="http://schemas.microsoft.com/office/drawing/2014/main" id="{65A9698A-03F9-482D-BEC7-746673531D5D}"/>
              </a:ext>
            </a:extLst>
          </p:cNvPr>
          <p:cNvSpPr txBox="1"/>
          <p:nvPr/>
        </p:nvSpPr>
        <p:spPr>
          <a:xfrm>
            <a:off x="11332296" y="3683735"/>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ج</a:t>
            </a:r>
          </a:p>
        </p:txBody>
      </p:sp>
      <p:sp>
        <p:nvSpPr>
          <p:cNvPr id="232" name="TextBox 231">
            <a:extLst>
              <a:ext uri="{FF2B5EF4-FFF2-40B4-BE49-F238E27FC236}">
                <a16:creationId xmlns:a16="http://schemas.microsoft.com/office/drawing/2014/main" id="{71355C32-EDDC-41DF-B932-6A5F4C94BE5B}"/>
              </a:ext>
            </a:extLst>
          </p:cNvPr>
          <p:cNvSpPr txBox="1"/>
          <p:nvPr/>
        </p:nvSpPr>
        <p:spPr>
          <a:xfrm>
            <a:off x="11332296" y="424683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د</a:t>
            </a:r>
          </a:p>
        </p:txBody>
      </p:sp>
      <p:sp>
        <p:nvSpPr>
          <p:cNvPr id="233" name="TextBox 232">
            <a:extLst>
              <a:ext uri="{FF2B5EF4-FFF2-40B4-BE49-F238E27FC236}">
                <a16:creationId xmlns:a16="http://schemas.microsoft.com/office/drawing/2014/main" id="{C5D64B5D-AFA4-4BB2-BE08-8721A04D2785}"/>
              </a:ext>
            </a:extLst>
          </p:cNvPr>
          <p:cNvSpPr txBox="1"/>
          <p:nvPr/>
        </p:nvSpPr>
        <p:spPr>
          <a:xfrm>
            <a:off x="11332296" y="481392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هـ</a:t>
            </a:r>
          </a:p>
        </p:txBody>
      </p:sp>
      <p:sp>
        <p:nvSpPr>
          <p:cNvPr id="234" name="TextBox 233">
            <a:extLst>
              <a:ext uri="{FF2B5EF4-FFF2-40B4-BE49-F238E27FC236}">
                <a16:creationId xmlns:a16="http://schemas.microsoft.com/office/drawing/2014/main" id="{451540C5-EC0A-4351-9DD3-BA1563C0E3DA}"/>
              </a:ext>
            </a:extLst>
          </p:cNvPr>
          <p:cNvSpPr txBox="1"/>
          <p:nvPr/>
        </p:nvSpPr>
        <p:spPr>
          <a:xfrm>
            <a:off x="11332296" y="5384296"/>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و</a:t>
            </a:r>
          </a:p>
        </p:txBody>
      </p:sp>
      <p:cxnSp>
        <p:nvCxnSpPr>
          <p:cNvPr id="235" name="Straight Connector 234">
            <a:extLst>
              <a:ext uri="{FF2B5EF4-FFF2-40B4-BE49-F238E27FC236}">
                <a16:creationId xmlns:a16="http://schemas.microsoft.com/office/drawing/2014/main" id="{7B667CBF-74A2-4DCF-B2FC-4424E6D829A5}"/>
              </a:ext>
            </a:extLst>
          </p:cNvPr>
          <p:cNvCxnSpPr>
            <a:cxnSpLocks/>
          </p:cNvCxnSpPr>
          <p:nvPr/>
        </p:nvCxnSpPr>
        <p:spPr>
          <a:xfrm flipH="1">
            <a:off x="11292291" y="257022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F4893DFC-9ED4-4B33-8DE7-214F9DA71355}"/>
              </a:ext>
            </a:extLst>
          </p:cNvPr>
          <p:cNvCxnSpPr>
            <a:cxnSpLocks/>
          </p:cNvCxnSpPr>
          <p:nvPr/>
        </p:nvCxnSpPr>
        <p:spPr>
          <a:xfrm flipH="1">
            <a:off x="11284671" y="3138961"/>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426EA4D1-9A94-4B0E-92CE-688F90D4B432}"/>
              </a:ext>
            </a:extLst>
          </p:cNvPr>
          <p:cNvCxnSpPr>
            <a:cxnSpLocks/>
          </p:cNvCxnSpPr>
          <p:nvPr/>
        </p:nvCxnSpPr>
        <p:spPr>
          <a:xfrm flipH="1">
            <a:off x="11292291" y="3707694"/>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28C3017E-DAE2-4D77-BA05-F06D19751814}"/>
              </a:ext>
            </a:extLst>
          </p:cNvPr>
          <p:cNvCxnSpPr>
            <a:cxnSpLocks/>
          </p:cNvCxnSpPr>
          <p:nvPr/>
        </p:nvCxnSpPr>
        <p:spPr>
          <a:xfrm flipH="1">
            <a:off x="11292291" y="4276427"/>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BD3B841-B2FC-45C5-81B1-06ACD2EEB55C}"/>
              </a:ext>
            </a:extLst>
          </p:cNvPr>
          <p:cNvCxnSpPr>
            <a:cxnSpLocks/>
          </p:cNvCxnSpPr>
          <p:nvPr/>
        </p:nvCxnSpPr>
        <p:spPr>
          <a:xfrm flipH="1">
            <a:off x="11292291" y="484515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A183B0EB-3614-41A7-B3B2-F03F39CC4456}"/>
              </a:ext>
            </a:extLst>
          </p:cNvPr>
          <p:cNvCxnSpPr>
            <a:cxnSpLocks/>
          </p:cNvCxnSpPr>
          <p:nvPr/>
        </p:nvCxnSpPr>
        <p:spPr>
          <a:xfrm flipH="1">
            <a:off x="11292291" y="541389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66472E63-EBC9-4D88-A2FC-50AF9A996304}"/>
              </a:ext>
            </a:extLst>
          </p:cNvPr>
          <p:cNvCxnSpPr>
            <a:cxnSpLocks/>
          </p:cNvCxnSpPr>
          <p:nvPr/>
        </p:nvCxnSpPr>
        <p:spPr>
          <a:xfrm flipH="1">
            <a:off x="11292291" y="5981619"/>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242" name="TextBox 241">
            <a:extLst>
              <a:ext uri="{FF2B5EF4-FFF2-40B4-BE49-F238E27FC236}">
                <a16:creationId xmlns:a16="http://schemas.microsoft.com/office/drawing/2014/main" id="{4A4D06CE-C534-48CA-9579-B07E4F45A8FD}"/>
              </a:ext>
            </a:extLst>
          </p:cNvPr>
          <p:cNvSpPr txBox="1"/>
          <p:nvPr/>
        </p:nvSpPr>
        <p:spPr>
          <a:xfrm>
            <a:off x="11332296" y="595636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ز</a:t>
            </a:r>
          </a:p>
        </p:txBody>
      </p:sp>
      <p:cxnSp>
        <p:nvCxnSpPr>
          <p:cNvPr id="243" name="Straight Arrow Connector 242">
            <a:extLst>
              <a:ext uri="{FF2B5EF4-FFF2-40B4-BE49-F238E27FC236}">
                <a16:creationId xmlns:a16="http://schemas.microsoft.com/office/drawing/2014/main" id="{82E0F1E3-2460-48DD-9A05-DB2935C38389}"/>
              </a:ext>
            </a:extLst>
          </p:cNvPr>
          <p:cNvCxnSpPr>
            <a:cxnSpLocks/>
          </p:cNvCxnSpPr>
          <p:nvPr/>
        </p:nvCxnSpPr>
        <p:spPr>
          <a:xfrm flipH="1">
            <a:off x="11640529" y="3865880"/>
            <a:ext cx="0" cy="2481580"/>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4" name="TextBox 243">
            <a:extLst>
              <a:ext uri="{FF2B5EF4-FFF2-40B4-BE49-F238E27FC236}">
                <a16:creationId xmlns:a16="http://schemas.microsoft.com/office/drawing/2014/main" id="{56381921-8DB9-43E1-894B-6259D2585E9D}"/>
              </a:ext>
            </a:extLst>
          </p:cNvPr>
          <p:cNvSpPr txBox="1"/>
          <p:nvPr/>
        </p:nvSpPr>
        <p:spPr>
          <a:xfrm rot="16200000">
            <a:off x="11207604" y="4719155"/>
            <a:ext cx="1080572" cy="276999"/>
          </a:xfrm>
          <a:prstGeom prst="rect">
            <a:avLst/>
          </a:prstGeom>
          <a:noFill/>
        </p:spPr>
        <p:txBody>
          <a:bodyPr wrap="square">
            <a:spAutoFit/>
          </a:bodyPr>
          <a:lstStyle/>
          <a:p>
            <a:pPr algn="ctr" rtl="1"/>
            <a:r>
              <a:rPr kumimoji="0" lang="ar-SA" sz="1200" b="0" i="0" u="none" strike="noStrike" cap="none" normalizeH="0" baseline="0" noProof="0">
                <a:ln>
                  <a:noFill/>
                </a:ln>
                <a:effectLst/>
                <a:uLnTx/>
                <a:uFillTx/>
                <a:latin typeface="DIN Next LT Arabic"/>
                <a:ea typeface="+mn-ea"/>
                <a:cs typeface="+mn-cs"/>
              </a:rPr>
              <a:t>البنية</a:t>
            </a:r>
            <a:r>
              <a:rPr kumimoji="0" lang="ar-EG" sz="1200" b="0" i="0" u="none" strike="noStrike" cap="none" normalizeH="0" baseline="0" noProof="0">
                <a:ln>
                  <a:noFill/>
                </a:ln>
                <a:effectLst/>
                <a:uLnTx/>
                <a:uFillTx/>
                <a:latin typeface="DIN Next LT Arabic"/>
                <a:ea typeface="+mn-ea"/>
                <a:cs typeface="+mn-cs"/>
              </a:rPr>
              <a:t> الهيكلية</a:t>
            </a:r>
            <a:endParaRPr kumimoji="0" lang="ar-SA" sz="1200" b="0" i="0" u="none" strike="noStrike" cap="none" normalizeH="0" baseline="0" noProof="0">
              <a:ln>
                <a:noFill/>
              </a:ln>
              <a:effectLst/>
              <a:uLnTx/>
              <a:uFillTx/>
              <a:latin typeface="DIN Next LT Arabic"/>
              <a:ea typeface="+mn-ea"/>
              <a:cs typeface="+mn-cs"/>
            </a:endParaRPr>
          </a:p>
        </p:txBody>
      </p:sp>
      <p:cxnSp>
        <p:nvCxnSpPr>
          <p:cNvPr id="245" name="Straight Arrow Connector 244">
            <a:extLst>
              <a:ext uri="{FF2B5EF4-FFF2-40B4-BE49-F238E27FC236}">
                <a16:creationId xmlns:a16="http://schemas.microsoft.com/office/drawing/2014/main" id="{1F699784-82E7-4397-9E02-E2B6AEBF8C92}"/>
              </a:ext>
            </a:extLst>
          </p:cNvPr>
          <p:cNvCxnSpPr>
            <a:cxnSpLocks/>
          </p:cNvCxnSpPr>
          <p:nvPr/>
        </p:nvCxnSpPr>
        <p:spPr>
          <a:xfrm flipH="1">
            <a:off x="11640529" y="2399303"/>
            <a:ext cx="0" cy="1387837"/>
          </a:xfrm>
          <a:prstGeom prst="straightConnector1">
            <a:avLst/>
          </a:prstGeom>
          <a:ln w="1270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6" name="TextBox 245">
            <a:extLst>
              <a:ext uri="{FF2B5EF4-FFF2-40B4-BE49-F238E27FC236}">
                <a16:creationId xmlns:a16="http://schemas.microsoft.com/office/drawing/2014/main" id="{05F58B7D-E6A1-4110-95C6-6F06274C019D}"/>
              </a:ext>
            </a:extLst>
          </p:cNvPr>
          <p:cNvSpPr txBox="1"/>
          <p:nvPr/>
        </p:nvSpPr>
        <p:spPr>
          <a:xfrm rot="16200000">
            <a:off x="11327028" y="2830609"/>
            <a:ext cx="841720" cy="276999"/>
          </a:xfrm>
          <a:prstGeom prst="rect">
            <a:avLst/>
          </a:prstGeom>
          <a:noFill/>
        </p:spPr>
        <p:txBody>
          <a:bodyPr wrap="square">
            <a:spAutoFit/>
          </a:bodyPr>
          <a:lstStyle/>
          <a:p>
            <a:pPr algn="ctr" rtl="1"/>
            <a:r>
              <a:rPr kumimoji="0" lang="ar-SA" sz="1200" b="0" i="0" u="none" strike="noStrike" cap="none" normalizeH="0" baseline="0" noProof="0">
                <a:ln>
                  <a:noFill/>
                </a:ln>
                <a:effectLst/>
                <a:uLnTx/>
                <a:uFillTx/>
                <a:latin typeface="DIN Next LT Arabic"/>
                <a:ea typeface="+mn-ea"/>
                <a:cs typeface="+mn-cs"/>
              </a:rPr>
              <a:t>المحتوى</a:t>
            </a:r>
          </a:p>
        </p:txBody>
      </p:sp>
      <p:pic>
        <p:nvPicPr>
          <p:cNvPr id="247" name="Graphic 246">
            <a:extLst>
              <a:ext uri="{FF2B5EF4-FFF2-40B4-BE49-F238E27FC236}">
                <a16:creationId xmlns:a16="http://schemas.microsoft.com/office/drawing/2014/main" id="{5DA704F5-5F5C-46B7-804E-7C793EF0E2A1}"/>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b="13196"/>
          <a:stretch>
            <a:fillRect/>
          </a:stretch>
        </p:blipFill>
        <p:spPr>
          <a:xfrm flipH="1">
            <a:off x="9444746" y="2545723"/>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grpSp>
        <p:nvGrpSpPr>
          <p:cNvPr id="248" name="Group 247">
            <a:extLst>
              <a:ext uri="{FF2B5EF4-FFF2-40B4-BE49-F238E27FC236}">
                <a16:creationId xmlns:a16="http://schemas.microsoft.com/office/drawing/2014/main" id="{78C807A6-D940-4D5A-9310-B42EC62F5DC4}"/>
              </a:ext>
            </a:extLst>
          </p:cNvPr>
          <p:cNvGrpSpPr/>
          <p:nvPr/>
        </p:nvGrpSpPr>
        <p:grpSpPr>
          <a:xfrm flipH="1">
            <a:off x="9450107" y="3640378"/>
            <a:ext cx="298671" cy="298671"/>
            <a:chOff x="-717193" y="3776686"/>
            <a:chExt cx="571500" cy="571500"/>
          </a:xfrm>
          <a:solidFill>
            <a:schemeClr val="bg1"/>
          </a:solidFill>
        </p:grpSpPr>
        <p:sp>
          <p:nvSpPr>
            <p:cNvPr id="249" name="Freeform: Shape 248">
              <a:extLst>
                <a:ext uri="{FF2B5EF4-FFF2-40B4-BE49-F238E27FC236}">
                  <a16:creationId xmlns:a16="http://schemas.microsoft.com/office/drawing/2014/main" id="{F6E67A28-D6AB-47FD-85F3-8C7EE84493C4}"/>
                </a:ext>
              </a:extLst>
            </p:cNvPr>
            <p:cNvSpPr/>
            <p:nvPr/>
          </p:nvSpPr>
          <p:spPr>
            <a:xfrm>
              <a:off x="-679093" y="3814786"/>
              <a:ext cx="190500" cy="190500"/>
            </a:xfrm>
            <a:custGeom>
              <a:avLst/>
              <a:gdLst>
                <a:gd name="connsiteX0" fmla="*/ 95250 w 190500"/>
                <a:gd name="connsiteY0" fmla="*/ 190500 h 190500"/>
                <a:gd name="connsiteX1" fmla="*/ 120101 w 190500"/>
                <a:gd name="connsiteY1" fmla="*/ 187100 h 190500"/>
                <a:gd name="connsiteX2" fmla="*/ 120291 w 190500"/>
                <a:gd name="connsiteY2" fmla="*/ 187071 h 190500"/>
                <a:gd name="connsiteX3" fmla="*/ 120672 w 190500"/>
                <a:gd name="connsiteY3" fmla="*/ 186947 h 190500"/>
                <a:gd name="connsiteX4" fmla="*/ 127092 w 190500"/>
                <a:gd name="connsiteY4" fmla="*/ 184909 h 190500"/>
                <a:gd name="connsiteX5" fmla="*/ 128740 w 190500"/>
                <a:gd name="connsiteY5" fmla="*/ 184309 h 190500"/>
                <a:gd name="connsiteX6" fmla="*/ 134626 w 190500"/>
                <a:gd name="connsiteY6" fmla="*/ 181880 h 190500"/>
                <a:gd name="connsiteX7" fmla="*/ 136417 w 190500"/>
                <a:gd name="connsiteY7" fmla="*/ 181013 h 190500"/>
                <a:gd name="connsiteX8" fmla="*/ 141980 w 190500"/>
                <a:gd name="connsiteY8" fmla="*/ 178156 h 190500"/>
                <a:gd name="connsiteX9" fmla="*/ 143104 w 190500"/>
                <a:gd name="connsiteY9" fmla="*/ 177470 h 190500"/>
                <a:gd name="connsiteX10" fmla="*/ 154505 w 190500"/>
                <a:gd name="connsiteY10" fmla="*/ 169688 h 190500"/>
                <a:gd name="connsiteX11" fmla="*/ 154915 w 190500"/>
                <a:gd name="connsiteY11" fmla="*/ 169383 h 190500"/>
                <a:gd name="connsiteX12" fmla="*/ 158972 w 190500"/>
                <a:gd name="connsiteY12" fmla="*/ 165840 h 190500"/>
                <a:gd name="connsiteX13" fmla="*/ 161192 w 190500"/>
                <a:gd name="connsiteY13" fmla="*/ 163830 h 190500"/>
                <a:gd name="connsiteX14" fmla="*/ 164783 w 190500"/>
                <a:gd name="connsiteY14" fmla="*/ 160144 h 190500"/>
                <a:gd name="connsiteX15" fmla="*/ 166897 w 190500"/>
                <a:gd name="connsiteY15" fmla="*/ 157820 h 190500"/>
                <a:gd name="connsiteX16" fmla="*/ 170202 w 190500"/>
                <a:gd name="connsiteY16" fmla="*/ 153838 h 190500"/>
                <a:gd name="connsiteX17" fmla="*/ 171993 w 190500"/>
                <a:gd name="connsiteY17" fmla="*/ 151438 h 190500"/>
                <a:gd name="connsiteX18" fmla="*/ 175079 w 190500"/>
                <a:gd name="connsiteY18" fmla="*/ 147056 h 190500"/>
                <a:gd name="connsiteX19" fmla="*/ 176308 w 190500"/>
                <a:gd name="connsiteY19" fmla="*/ 145037 h 190500"/>
                <a:gd name="connsiteX20" fmla="*/ 184375 w 190500"/>
                <a:gd name="connsiteY20" fmla="*/ 128578 h 190500"/>
                <a:gd name="connsiteX21" fmla="*/ 185614 w 190500"/>
                <a:gd name="connsiteY21" fmla="*/ 125187 h 190500"/>
                <a:gd name="connsiteX22" fmla="*/ 186909 w 190500"/>
                <a:gd name="connsiteY22" fmla="*/ 120872 h 190500"/>
                <a:gd name="connsiteX23" fmla="*/ 187995 w 190500"/>
                <a:gd name="connsiteY23" fmla="*/ 116653 h 190500"/>
                <a:gd name="connsiteX24" fmla="*/ 188843 w 190500"/>
                <a:gd name="connsiteY24" fmla="*/ 112671 h 190500"/>
                <a:gd name="connsiteX25" fmla="*/ 189652 w 190500"/>
                <a:gd name="connsiteY25" fmla="*/ 107394 h 190500"/>
                <a:gd name="connsiteX26" fmla="*/ 190062 w 190500"/>
                <a:gd name="connsiteY26" fmla="*/ 104118 h 190500"/>
                <a:gd name="connsiteX27" fmla="*/ 190500 w 190500"/>
                <a:gd name="connsiteY27" fmla="*/ 95250 h 190500"/>
                <a:gd name="connsiteX28" fmla="*/ 95250 w 190500"/>
                <a:gd name="connsiteY28" fmla="*/ 0 h 190500"/>
                <a:gd name="connsiteX29" fmla="*/ 84211 w 190500"/>
                <a:gd name="connsiteY29" fmla="*/ 695 h 190500"/>
                <a:gd name="connsiteX30" fmla="*/ 81267 w 190500"/>
                <a:gd name="connsiteY30" fmla="*/ 1143 h 190500"/>
                <a:gd name="connsiteX31" fmla="*/ 73285 w 190500"/>
                <a:gd name="connsiteY31" fmla="*/ 2657 h 190500"/>
                <a:gd name="connsiteX32" fmla="*/ 69999 w 190500"/>
                <a:gd name="connsiteY32" fmla="*/ 3505 h 190500"/>
                <a:gd name="connsiteX33" fmla="*/ 62532 w 190500"/>
                <a:gd name="connsiteY33" fmla="*/ 5915 h 190500"/>
                <a:gd name="connsiteX34" fmla="*/ 59436 w 190500"/>
                <a:gd name="connsiteY34" fmla="*/ 7048 h 190500"/>
                <a:gd name="connsiteX35" fmla="*/ 50035 w 190500"/>
                <a:gd name="connsiteY35" fmla="*/ 11440 h 190500"/>
                <a:gd name="connsiteX36" fmla="*/ 49625 w 190500"/>
                <a:gd name="connsiteY36" fmla="*/ 11630 h 190500"/>
                <a:gd name="connsiteX37" fmla="*/ 49616 w 190500"/>
                <a:gd name="connsiteY37" fmla="*/ 11640 h 190500"/>
                <a:gd name="connsiteX38" fmla="*/ 48063 w 190500"/>
                <a:gd name="connsiteY38" fmla="*/ 12621 h 190500"/>
                <a:gd name="connsiteX39" fmla="*/ 40843 w 190500"/>
                <a:gd name="connsiteY39" fmla="*/ 17174 h 190500"/>
                <a:gd name="connsiteX40" fmla="*/ 37024 w 190500"/>
                <a:gd name="connsiteY40" fmla="*/ 20031 h 190500"/>
                <a:gd name="connsiteX41" fmla="*/ 32633 w 190500"/>
                <a:gd name="connsiteY41" fmla="*/ 23651 h 190500"/>
                <a:gd name="connsiteX42" fmla="*/ 28680 w 190500"/>
                <a:gd name="connsiteY42" fmla="*/ 27241 h 190500"/>
                <a:gd name="connsiteX43" fmla="*/ 25032 w 190500"/>
                <a:gd name="connsiteY43" fmla="*/ 31118 h 190500"/>
                <a:gd name="connsiteX44" fmla="*/ 19679 w 190500"/>
                <a:gd name="connsiteY44" fmla="*/ 37500 h 190500"/>
                <a:gd name="connsiteX45" fmla="*/ 15878 w 190500"/>
                <a:gd name="connsiteY45" fmla="*/ 42710 h 190500"/>
                <a:gd name="connsiteX46" fmla="*/ 13535 w 190500"/>
                <a:gd name="connsiteY46" fmla="*/ 46568 h 190500"/>
                <a:gd name="connsiteX47" fmla="*/ 10268 w 190500"/>
                <a:gd name="connsiteY47" fmla="*/ 52473 h 190500"/>
                <a:gd name="connsiteX48" fmla="*/ 8677 w 190500"/>
                <a:gd name="connsiteY48" fmla="*/ 55759 h 190500"/>
                <a:gd name="connsiteX49" fmla="*/ 5210 w 190500"/>
                <a:gd name="connsiteY49" fmla="*/ 64437 h 190500"/>
                <a:gd name="connsiteX50" fmla="*/ 4810 w 190500"/>
                <a:gd name="connsiteY50" fmla="*/ 65513 h 190500"/>
                <a:gd name="connsiteX51" fmla="*/ 324 w 190500"/>
                <a:gd name="connsiteY51" fmla="*/ 88754 h 190500"/>
                <a:gd name="connsiteX52" fmla="*/ 305 w 190500"/>
                <a:gd name="connsiteY52" fmla="*/ 88925 h 190500"/>
                <a:gd name="connsiteX53" fmla="*/ 314 w 190500"/>
                <a:gd name="connsiteY53" fmla="*/ 89002 h 190500"/>
                <a:gd name="connsiteX54" fmla="*/ 0 w 190500"/>
                <a:gd name="connsiteY54" fmla="*/ 95250 h 190500"/>
                <a:gd name="connsiteX55" fmla="*/ 95250 w 190500"/>
                <a:gd name="connsiteY55" fmla="*/ 190500 h 190500"/>
                <a:gd name="connsiteX56" fmla="*/ 24679 w 190500"/>
                <a:gd name="connsiteY56" fmla="*/ 66627 h 190500"/>
                <a:gd name="connsiteX57" fmla="*/ 26527 w 190500"/>
                <a:gd name="connsiteY57" fmla="*/ 62560 h 190500"/>
                <a:gd name="connsiteX58" fmla="*/ 27918 w 190500"/>
                <a:gd name="connsiteY58" fmla="*/ 59665 h 190500"/>
                <a:gd name="connsiteX59" fmla="*/ 29366 w 190500"/>
                <a:gd name="connsiteY59" fmla="*/ 57131 h 190500"/>
                <a:gd name="connsiteX60" fmla="*/ 31804 w 190500"/>
                <a:gd name="connsiteY60" fmla="*/ 53111 h 190500"/>
                <a:gd name="connsiteX61" fmla="*/ 32842 w 190500"/>
                <a:gd name="connsiteY61" fmla="*/ 51645 h 190500"/>
                <a:gd name="connsiteX62" fmla="*/ 36243 w 190500"/>
                <a:gd name="connsiteY62" fmla="*/ 47092 h 190500"/>
                <a:gd name="connsiteX63" fmla="*/ 37033 w 190500"/>
                <a:gd name="connsiteY63" fmla="*/ 46168 h 190500"/>
                <a:gd name="connsiteX64" fmla="*/ 41138 w 190500"/>
                <a:gd name="connsiteY64" fmla="*/ 41653 h 190500"/>
                <a:gd name="connsiteX65" fmla="*/ 41986 w 190500"/>
                <a:gd name="connsiteY65" fmla="*/ 40834 h 190500"/>
                <a:gd name="connsiteX66" fmla="*/ 46425 w 190500"/>
                <a:gd name="connsiteY66" fmla="*/ 36805 h 190500"/>
                <a:gd name="connsiteX67" fmla="*/ 47692 w 190500"/>
                <a:gd name="connsiteY67" fmla="*/ 35795 h 190500"/>
                <a:gd name="connsiteX68" fmla="*/ 50721 w 190500"/>
                <a:gd name="connsiteY68" fmla="*/ 33528 h 190500"/>
                <a:gd name="connsiteX69" fmla="*/ 59331 w 190500"/>
                <a:gd name="connsiteY69" fmla="*/ 49301 h 190500"/>
                <a:gd name="connsiteX70" fmla="*/ 78581 w 190500"/>
                <a:gd name="connsiteY70" fmla="*/ 84582 h 190500"/>
                <a:gd name="connsiteX71" fmla="*/ 20526 w 190500"/>
                <a:gd name="connsiteY71" fmla="*/ 80705 h 190500"/>
                <a:gd name="connsiteX72" fmla="*/ 24241 w 190500"/>
                <a:gd name="connsiteY72" fmla="*/ 67799 h 190500"/>
                <a:gd name="connsiteX73" fmla="*/ 24679 w 190500"/>
                <a:gd name="connsiteY73" fmla="*/ 66627 h 190500"/>
                <a:gd name="connsiteX74" fmla="*/ 19279 w 190500"/>
                <a:gd name="connsiteY74" fmla="*/ 99727 h 190500"/>
                <a:gd name="connsiteX75" fmla="*/ 87849 w 190500"/>
                <a:gd name="connsiteY75" fmla="*/ 104299 h 190500"/>
                <a:gd name="connsiteX76" fmla="*/ 105937 w 190500"/>
                <a:gd name="connsiteY76" fmla="*/ 170612 h 190500"/>
                <a:gd name="connsiteX77" fmla="*/ 95250 w 190500"/>
                <a:gd name="connsiteY77" fmla="*/ 171450 h 190500"/>
                <a:gd name="connsiteX78" fmla="*/ 19279 w 190500"/>
                <a:gd name="connsiteY78" fmla="*/ 99727 h 190500"/>
                <a:gd name="connsiteX79" fmla="*/ 171450 w 190500"/>
                <a:gd name="connsiteY79" fmla="*/ 95250 h 190500"/>
                <a:gd name="connsiteX80" fmla="*/ 170669 w 190500"/>
                <a:gd name="connsiteY80" fmla="*/ 105575 h 190500"/>
                <a:gd name="connsiteX81" fmla="*/ 170326 w 190500"/>
                <a:gd name="connsiteY81" fmla="*/ 107823 h 190500"/>
                <a:gd name="connsiteX82" fmla="*/ 164211 w 190500"/>
                <a:gd name="connsiteY82" fmla="*/ 127464 h 190500"/>
                <a:gd name="connsiteX83" fmla="*/ 163620 w 190500"/>
                <a:gd name="connsiteY83" fmla="*/ 128683 h 190500"/>
                <a:gd name="connsiteX84" fmla="*/ 151990 w 190500"/>
                <a:gd name="connsiteY84" fmla="*/ 145933 h 190500"/>
                <a:gd name="connsiteX85" fmla="*/ 151171 w 190500"/>
                <a:gd name="connsiteY85" fmla="*/ 146837 h 190500"/>
                <a:gd name="connsiteX86" fmla="*/ 134836 w 190500"/>
                <a:gd name="connsiteY86" fmla="*/ 160230 h 190500"/>
                <a:gd name="connsiteX87" fmla="*/ 134055 w 190500"/>
                <a:gd name="connsiteY87" fmla="*/ 160706 h 190500"/>
                <a:gd name="connsiteX88" fmla="*/ 124320 w 190500"/>
                <a:gd name="connsiteY88" fmla="*/ 165611 h 190500"/>
                <a:gd name="connsiteX89" fmla="*/ 104451 w 190500"/>
                <a:gd name="connsiteY89" fmla="*/ 92745 h 190500"/>
                <a:gd name="connsiteX90" fmla="*/ 103622 w 190500"/>
                <a:gd name="connsiteY90" fmla="*/ 90688 h 190500"/>
                <a:gd name="connsiteX91" fmla="*/ 67456 w 190500"/>
                <a:gd name="connsiteY91" fmla="*/ 24374 h 190500"/>
                <a:gd name="connsiteX92" fmla="*/ 70228 w 190500"/>
                <a:gd name="connsiteY92" fmla="*/ 23355 h 190500"/>
                <a:gd name="connsiteX93" fmla="*/ 73447 w 190500"/>
                <a:gd name="connsiteY93" fmla="*/ 22260 h 190500"/>
                <a:gd name="connsiteX94" fmla="*/ 77067 w 190500"/>
                <a:gd name="connsiteY94" fmla="*/ 21326 h 190500"/>
                <a:gd name="connsiteX95" fmla="*/ 80591 w 190500"/>
                <a:gd name="connsiteY95" fmla="*/ 20488 h 190500"/>
                <a:gd name="connsiteX96" fmla="*/ 84639 w 190500"/>
                <a:gd name="connsiteY96" fmla="*/ 19869 h 190500"/>
                <a:gd name="connsiteX97" fmla="*/ 87849 w 190500"/>
                <a:gd name="connsiteY97" fmla="*/ 19412 h 190500"/>
                <a:gd name="connsiteX98" fmla="*/ 95250 w 190500"/>
                <a:gd name="connsiteY98" fmla="*/ 19050 h 190500"/>
                <a:gd name="connsiteX99" fmla="*/ 171450 w 190500"/>
                <a:gd name="connsiteY99"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0500" h="190500">
                  <a:moveTo>
                    <a:pt x="95250" y="190500"/>
                  </a:moveTo>
                  <a:cubicBezTo>
                    <a:pt x="103861" y="190500"/>
                    <a:pt x="112166" y="189252"/>
                    <a:pt x="120101" y="187100"/>
                  </a:cubicBezTo>
                  <a:cubicBezTo>
                    <a:pt x="120167" y="187081"/>
                    <a:pt x="120225" y="187090"/>
                    <a:pt x="120291" y="187071"/>
                  </a:cubicBezTo>
                  <a:cubicBezTo>
                    <a:pt x="120425" y="187033"/>
                    <a:pt x="120539" y="186985"/>
                    <a:pt x="120672" y="186947"/>
                  </a:cubicBezTo>
                  <a:cubicBezTo>
                    <a:pt x="122844" y="186347"/>
                    <a:pt x="124978" y="185661"/>
                    <a:pt x="127092" y="184909"/>
                  </a:cubicBezTo>
                  <a:cubicBezTo>
                    <a:pt x="127645" y="184709"/>
                    <a:pt x="128197" y="184509"/>
                    <a:pt x="128740" y="184309"/>
                  </a:cubicBezTo>
                  <a:cubicBezTo>
                    <a:pt x="130731" y="183556"/>
                    <a:pt x="132702" y="182756"/>
                    <a:pt x="134626" y="181880"/>
                  </a:cubicBezTo>
                  <a:cubicBezTo>
                    <a:pt x="135226" y="181604"/>
                    <a:pt x="135817" y="181308"/>
                    <a:pt x="136417" y="181013"/>
                  </a:cubicBezTo>
                  <a:cubicBezTo>
                    <a:pt x="138303" y="180108"/>
                    <a:pt x="140170" y="179184"/>
                    <a:pt x="141980" y="178156"/>
                  </a:cubicBezTo>
                  <a:cubicBezTo>
                    <a:pt x="142361" y="177937"/>
                    <a:pt x="142723" y="177689"/>
                    <a:pt x="143104" y="177470"/>
                  </a:cubicBezTo>
                  <a:cubicBezTo>
                    <a:pt x="147095" y="175136"/>
                    <a:pt x="150914" y="172555"/>
                    <a:pt x="154505" y="169688"/>
                  </a:cubicBezTo>
                  <a:cubicBezTo>
                    <a:pt x="154638" y="169583"/>
                    <a:pt x="154781" y="169488"/>
                    <a:pt x="154915" y="169383"/>
                  </a:cubicBezTo>
                  <a:cubicBezTo>
                    <a:pt x="156315" y="168259"/>
                    <a:pt x="157639" y="167049"/>
                    <a:pt x="158972" y="165840"/>
                  </a:cubicBezTo>
                  <a:cubicBezTo>
                    <a:pt x="159715" y="165173"/>
                    <a:pt x="160468" y="164516"/>
                    <a:pt x="161192" y="163830"/>
                  </a:cubicBezTo>
                  <a:cubicBezTo>
                    <a:pt x="162430" y="162639"/>
                    <a:pt x="163611" y="161401"/>
                    <a:pt x="164783" y="160144"/>
                  </a:cubicBezTo>
                  <a:cubicBezTo>
                    <a:pt x="165497" y="159372"/>
                    <a:pt x="166211" y="158610"/>
                    <a:pt x="166897" y="157820"/>
                  </a:cubicBezTo>
                  <a:cubicBezTo>
                    <a:pt x="168031" y="156524"/>
                    <a:pt x="169135" y="155200"/>
                    <a:pt x="170202" y="153838"/>
                  </a:cubicBezTo>
                  <a:cubicBezTo>
                    <a:pt x="170821" y="153048"/>
                    <a:pt x="171402" y="152248"/>
                    <a:pt x="171993" y="151438"/>
                  </a:cubicBezTo>
                  <a:cubicBezTo>
                    <a:pt x="173050" y="150000"/>
                    <a:pt x="174098" y="148552"/>
                    <a:pt x="175079" y="147056"/>
                  </a:cubicBezTo>
                  <a:cubicBezTo>
                    <a:pt x="175508" y="146399"/>
                    <a:pt x="175898" y="145704"/>
                    <a:pt x="176308" y="145037"/>
                  </a:cubicBezTo>
                  <a:cubicBezTo>
                    <a:pt x="179508" y="139856"/>
                    <a:pt x="182204" y="134350"/>
                    <a:pt x="184375" y="128578"/>
                  </a:cubicBezTo>
                  <a:cubicBezTo>
                    <a:pt x="184795" y="127454"/>
                    <a:pt x="185233" y="126330"/>
                    <a:pt x="185614" y="125187"/>
                  </a:cubicBezTo>
                  <a:cubicBezTo>
                    <a:pt x="186090" y="123768"/>
                    <a:pt x="186500" y="122320"/>
                    <a:pt x="186909" y="120872"/>
                  </a:cubicBezTo>
                  <a:cubicBezTo>
                    <a:pt x="187300" y="119472"/>
                    <a:pt x="187671" y="118072"/>
                    <a:pt x="187995" y="116653"/>
                  </a:cubicBezTo>
                  <a:cubicBezTo>
                    <a:pt x="188300" y="115329"/>
                    <a:pt x="188585" y="114014"/>
                    <a:pt x="188843" y="112671"/>
                  </a:cubicBezTo>
                  <a:cubicBezTo>
                    <a:pt x="189167" y="110928"/>
                    <a:pt x="189424" y="109166"/>
                    <a:pt x="189652" y="107394"/>
                  </a:cubicBezTo>
                  <a:cubicBezTo>
                    <a:pt x="189795" y="106299"/>
                    <a:pt x="189967" y="105223"/>
                    <a:pt x="190062" y="104118"/>
                  </a:cubicBezTo>
                  <a:cubicBezTo>
                    <a:pt x="190329" y="101194"/>
                    <a:pt x="190500" y="98241"/>
                    <a:pt x="190500" y="95250"/>
                  </a:cubicBezTo>
                  <a:cubicBezTo>
                    <a:pt x="190500" y="42729"/>
                    <a:pt x="147771" y="0"/>
                    <a:pt x="95250" y="0"/>
                  </a:cubicBezTo>
                  <a:cubicBezTo>
                    <a:pt x="91507" y="0"/>
                    <a:pt x="87840" y="276"/>
                    <a:pt x="84211" y="695"/>
                  </a:cubicBezTo>
                  <a:cubicBezTo>
                    <a:pt x="83220" y="810"/>
                    <a:pt x="82248" y="1000"/>
                    <a:pt x="81267" y="1143"/>
                  </a:cubicBezTo>
                  <a:cubicBezTo>
                    <a:pt x="78572" y="1543"/>
                    <a:pt x="75905" y="2038"/>
                    <a:pt x="73285" y="2657"/>
                  </a:cubicBezTo>
                  <a:cubicBezTo>
                    <a:pt x="72180" y="2915"/>
                    <a:pt x="71095" y="3200"/>
                    <a:pt x="69999" y="3505"/>
                  </a:cubicBezTo>
                  <a:cubicBezTo>
                    <a:pt x="67466" y="4201"/>
                    <a:pt x="64980" y="5010"/>
                    <a:pt x="62532" y="5915"/>
                  </a:cubicBezTo>
                  <a:cubicBezTo>
                    <a:pt x="61503" y="6296"/>
                    <a:pt x="60455" y="6639"/>
                    <a:pt x="59436" y="7048"/>
                  </a:cubicBezTo>
                  <a:cubicBezTo>
                    <a:pt x="56217" y="8363"/>
                    <a:pt x="53064" y="9801"/>
                    <a:pt x="50035" y="11440"/>
                  </a:cubicBezTo>
                  <a:cubicBezTo>
                    <a:pt x="49901" y="11516"/>
                    <a:pt x="49759" y="11563"/>
                    <a:pt x="49625" y="11630"/>
                  </a:cubicBezTo>
                  <a:cubicBezTo>
                    <a:pt x="49616" y="11630"/>
                    <a:pt x="49616" y="11640"/>
                    <a:pt x="49616" y="11640"/>
                  </a:cubicBezTo>
                  <a:cubicBezTo>
                    <a:pt x="49073" y="11935"/>
                    <a:pt x="48597" y="12316"/>
                    <a:pt x="48063" y="12621"/>
                  </a:cubicBezTo>
                  <a:cubicBezTo>
                    <a:pt x="45587" y="14040"/>
                    <a:pt x="43177" y="15545"/>
                    <a:pt x="40843" y="17174"/>
                  </a:cubicBezTo>
                  <a:cubicBezTo>
                    <a:pt x="39529" y="18088"/>
                    <a:pt x="38281" y="19060"/>
                    <a:pt x="37024" y="20031"/>
                  </a:cubicBezTo>
                  <a:cubicBezTo>
                    <a:pt x="35528" y="21193"/>
                    <a:pt x="34061" y="22403"/>
                    <a:pt x="32633" y="23651"/>
                  </a:cubicBezTo>
                  <a:cubicBezTo>
                    <a:pt x="31290" y="24832"/>
                    <a:pt x="29956" y="26003"/>
                    <a:pt x="28680" y="27241"/>
                  </a:cubicBezTo>
                  <a:cubicBezTo>
                    <a:pt x="27413" y="28480"/>
                    <a:pt x="26222" y="29804"/>
                    <a:pt x="25032" y="31118"/>
                  </a:cubicBezTo>
                  <a:cubicBezTo>
                    <a:pt x="23155" y="33176"/>
                    <a:pt x="21365" y="35290"/>
                    <a:pt x="19679" y="37500"/>
                  </a:cubicBezTo>
                  <a:cubicBezTo>
                    <a:pt x="18374" y="39205"/>
                    <a:pt x="17069" y="40919"/>
                    <a:pt x="15878" y="42710"/>
                  </a:cubicBezTo>
                  <a:cubicBezTo>
                    <a:pt x="15049" y="43967"/>
                    <a:pt x="14307" y="45272"/>
                    <a:pt x="13535" y="46568"/>
                  </a:cubicBezTo>
                  <a:cubicBezTo>
                    <a:pt x="12383" y="48501"/>
                    <a:pt x="11287" y="50463"/>
                    <a:pt x="10268" y="52473"/>
                  </a:cubicBezTo>
                  <a:cubicBezTo>
                    <a:pt x="9725" y="53559"/>
                    <a:pt x="9182" y="54645"/>
                    <a:pt x="8677" y="55759"/>
                  </a:cubicBezTo>
                  <a:cubicBezTo>
                    <a:pt x="7382" y="58588"/>
                    <a:pt x="6229" y="61474"/>
                    <a:pt x="5210" y="64437"/>
                  </a:cubicBezTo>
                  <a:cubicBezTo>
                    <a:pt x="5086" y="64799"/>
                    <a:pt x="4934" y="65151"/>
                    <a:pt x="4810" y="65513"/>
                  </a:cubicBezTo>
                  <a:cubicBezTo>
                    <a:pt x="2372" y="72904"/>
                    <a:pt x="867" y="80696"/>
                    <a:pt x="324" y="88754"/>
                  </a:cubicBezTo>
                  <a:cubicBezTo>
                    <a:pt x="324" y="88811"/>
                    <a:pt x="305" y="88868"/>
                    <a:pt x="305" y="88925"/>
                  </a:cubicBezTo>
                  <a:cubicBezTo>
                    <a:pt x="305" y="88954"/>
                    <a:pt x="314" y="88973"/>
                    <a:pt x="314" y="89002"/>
                  </a:cubicBezTo>
                  <a:cubicBezTo>
                    <a:pt x="181" y="91078"/>
                    <a:pt x="0" y="93135"/>
                    <a:pt x="0" y="95250"/>
                  </a:cubicBezTo>
                  <a:cubicBezTo>
                    <a:pt x="0" y="147771"/>
                    <a:pt x="42729" y="190500"/>
                    <a:pt x="95250" y="190500"/>
                  </a:cubicBezTo>
                  <a:close/>
                  <a:moveTo>
                    <a:pt x="24679" y="66627"/>
                  </a:moveTo>
                  <a:cubicBezTo>
                    <a:pt x="25232" y="65237"/>
                    <a:pt x="25889" y="63903"/>
                    <a:pt x="26527" y="62560"/>
                  </a:cubicBezTo>
                  <a:cubicBezTo>
                    <a:pt x="26984" y="61598"/>
                    <a:pt x="27422" y="60608"/>
                    <a:pt x="27918" y="59665"/>
                  </a:cubicBezTo>
                  <a:cubicBezTo>
                    <a:pt x="28375" y="58798"/>
                    <a:pt x="28880" y="57979"/>
                    <a:pt x="29366" y="57131"/>
                  </a:cubicBezTo>
                  <a:cubicBezTo>
                    <a:pt x="30156" y="55778"/>
                    <a:pt x="30937" y="54416"/>
                    <a:pt x="31804" y="53111"/>
                  </a:cubicBezTo>
                  <a:cubicBezTo>
                    <a:pt x="32137" y="52616"/>
                    <a:pt x="32499" y="52140"/>
                    <a:pt x="32842" y="51645"/>
                  </a:cubicBezTo>
                  <a:cubicBezTo>
                    <a:pt x="33928" y="50092"/>
                    <a:pt x="35052" y="48558"/>
                    <a:pt x="36243" y="47092"/>
                  </a:cubicBezTo>
                  <a:cubicBezTo>
                    <a:pt x="36500" y="46777"/>
                    <a:pt x="36776" y="46482"/>
                    <a:pt x="37033" y="46168"/>
                  </a:cubicBezTo>
                  <a:cubicBezTo>
                    <a:pt x="38348" y="44615"/>
                    <a:pt x="39710" y="43101"/>
                    <a:pt x="41138" y="41653"/>
                  </a:cubicBezTo>
                  <a:cubicBezTo>
                    <a:pt x="41415" y="41377"/>
                    <a:pt x="41710" y="41110"/>
                    <a:pt x="41986" y="40834"/>
                  </a:cubicBezTo>
                  <a:cubicBezTo>
                    <a:pt x="43415" y="39434"/>
                    <a:pt x="44891" y="38081"/>
                    <a:pt x="46425" y="36805"/>
                  </a:cubicBezTo>
                  <a:cubicBezTo>
                    <a:pt x="46834" y="36462"/>
                    <a:pt x="47273" y="36138"/>
                    <a:pt x="47692" y="35795"/>
                  </a:cubicBezTo>
                  <a:cubicBezTo>
                    <a:pt x="48673" y="35004"/>
                    <a:pt x="49701" y="34271"/>
                    <a:pt x="50721" y="33528"/>
                  </a:cubicBezTo>
                  <a:lnTo>
                    <a:pt x="59331" y="49301"/>
                  </a:lnTo>
                  <a:lnTo>
                    <a:pt x="78581" y="84582"/>
                  </a:lnTo>
                  <a:lnTo>
                    <a:pt x="20526" y="80705"/>
                  </a:lnTo>
                  <a:cubicBezTo>
                    <a:pt x="21374" y="76257"/>
                    <a:pt x="22650" y="71952"/>
                    <a:pt x="24241" y="67799"/>
                  </a:cubicBezTo>
                  <a:cubicBezTo>
                    <a:pt x="24394" y="67418"/>
                    <a:pt x="24517" y="67018"/>
                    <a:pt x="24679" y="66627"/>
                  </a:cubicBezTo>
                  <a:close/>
                  <a:moveTo>
                    <a:pt x="19279" y="99727"/>
                  </a:moveTo>
                  <a:lnTo>
                    <a:pt x="87849" y="104299"/>
                  </a:lnTo>
                  <a:lnTo>
                    <a:pt x="105937" y="170612"/>
                  </a:lnTo>
                  <a:cubicBezTo>
                    <a:pt x="102432" y="171107"/>
                    <a:pt x="98889" y="171450"/>
                    <a:pt x="95250" y="171450"/>
                  </a:cubicBezTo>
                  <a:cubicBezTo>
                    <a:pt x="54750" y="171450"/>
                    <a:pt x="21612" y="139656"/>
                    <a:pt x="19279" y="99727"/>
                  </a:cubicBezTo>
                  <a:close/>
                  <a:moveTo>
                    <a:pt x="171450" y="95250"/>
                  </a:moveTo>
                  <a:cubicBezTo>
                    <a:pt x="171450" y="98746"/>
                    <a:pt x="171136" y="102184"/>
                    <a:pt x="170669" y="105575"/>
                  </a:cubicBezTo>
                  <a:cubicBezTo>
                    <a:pt x="170564" y="106328"/>
                    <a:pt x="170450" y="107080"/>
                    <a:pt x="170326" y="107823"/>
                  </a:cubicBezTo>
                  <a:cubicBezTo>
                    <a:pt x="169164" y="114691"/>
                    <a:pt x="167107" y="121291"/>
                    <a:pt x="164211" y="127464"/>
                  </a:cubicBezTo>
                  <a:cubicBezTo>
                    <a:pt x="164021" y="127873"/>
                    <a:pt x="163820" y="128283"/>
                    <a:pt x="163620" y="128683"/>
                  </a:cubicBezTo>
                  <a:cubicBezTo>
                    <a:pt x="160544" y="134941"/>
                    <a:pt x="156629" y="140751"/>
                    <a:pt x="151990" y="145933"/>
                  </a:cubicBezTo>
                  <a:cubicBezTo>
                    <a:pt x="151714" y="146237"/>
                    <a:pt x="151448" y="146542"/>
                    <a:pt x="151171" y="146837"/>
                  </a:cubicBezTo>
                  <a:cubicBezTo>
                    <a:pt x="146399" y="152000"/>
                    <a:pt x="140922" y="156524"/>
                    <a:pt x="134836" y="160230"/>
                  </a:cubicBezTo>
                  <a:cubicBezTo>
                    <a:pt x="134579" y="160391"/>
                    <a:pt x="134322" y="160544"/>
                    <a:pt x="134055" y="160706"/>
                  </a:cubicBezTo>
                  <a:cubicBezTo>
                    <a:pt x="130950" y="162554"/>
                    <a:pt x="127711" y="164211"/>
                    <a:pt x="124320" y="165611"/>
                  </a:cubicBezTo>
                  <a:lnTo>
                    <a:pt x="104451" y="92745"/>
                  </a:lnTo>
                  <a:cubicBezTo>
                    <a:pt x="104251" y="92031"/>
                    <a:pt x="103975" y="91345"/>
                    <a:pt x="103622" y="90688"/>
                  </a:cubicBezTo>
                  <a:lnTo>
                    <a:pt x="67456" y="24374"/>
                  </a:lnTo>
                  <a:cubicBezTo>
                    <a:pt x="68370" y="24013"/>
                    <a:pt x="69294" y="23679"/>
                    <a:pt x="70228" y="23355"/>
                  </a:cubicBezTo>
                  <a:cubicBezTo>
                    <a:pt x="71295" y="22984"/>
                    <a:pt x="72361" y="22584"/>
                    <a:pt x="73447" y="22260"/>
                  </a:cubicBezTo>
                  <a:cubicBezTo>
                    <a:pt x="74638" y="21908"/>
                    <a:pt x="75857" y="21622"/>
                    <a:pt x="77067" y="21326"/>
                  </a:cubicBezTo>
                  <a:cubicBezTo>
                    <a:pt x="78238" y="21041"/>
                    <a:pt x="79410" y="20717"/>
                    <a:pt x="80591" y="20488"/>
                  </a:cubicBezTo>
                  <a:cubicBezTo>
                    <a:pt x="81925" y="20231"/>
                    <a:pt x="83287" y="20060"/>
                    <a:pt x="84639" y="19869"/>
                  </a:cubicBezTo>
                  <a:cubicBezTo>
                    <a:pt x="85706" y="19717"/>
                    <a:pt x="86773" y="19517"/>
                    <a:pt x="87849" y="19412"/>
                  </a:cubicBezTo>
                  <a:cubicBezTo>
                    <a:pt x="90278" y="19193"/>
                    <a:pt x="92745" y="19050"/>
                    <a:pt x="95250" y="19050"/>
                  </a:cubicBezTo>
                  <a:cubicBezTo>
                    <a:pt x="137265" y="19050"/>
                    <a:pt x="171450" y="53235"/>
                    <a:pt x="171450" y="95250"/>
                  </a:cubicBezTo>
                  <a:close/>
                </a:path>
              </a:pathLst>
            </a:custGeom>
            <a:grpFill/>
            <a:ln w="3175" cap="flat">
              <a:solidFill>
                <a:schemeClr val="bg1"/>
              </a:solidFill>
              <a:prstDash val="solid"/>
              <a:miter/>
            </a:ln>
          </p:spPr>
          <p:txBody>
            <a:bodyPr rtlCol="0" anchor="ctr"/>
            <a:lstStyle/>
            <a:p>
              <a:pPr algn="r" rtl="1"/>
              <a:endParaRPr lang="en-US"/>
            </a:p>
          </p:txBody>
        </p:sp>
        <p:sp>
          <p:nvSpPr>
            <p:cNvPr id="250" name="Freeform: Shape 249">
              <a:extLst>
                <a:ext uri="{FF2B5EF4-FFF2-40B4-BE49-F238E27FC236}">
                  <a16:creationId xmlns:a16="http://schemas.microsoft.com/office/drawing/2014/main" id="{F8DFF831-BDE3-4DA6-87A8-684B4F818C13}"/>
                </a:ext>
              </a:extLst>
            </p:cNvPr>
            <p:cNvSpPr/>
            <p:nvPr/>
          </p:nvSpPr>
          <p:spPr>
            <a:xfrm>
              <a:off x="-717193" y="3776686"/>
              <a:ext cx="571500" cy="571500"/>
            </a:xfrm>
            <a:custGeom>
              <a:avLst/>
              <a:gdLst>
                <a:gd name="connsiteX0" fmla="*/ 523875 w 571500"/>
                <a:gd name="connsiteY0" fmla="*/ 0 h 571500"/>
                <a:gd name="connsiteX1" fmla="*/ 47625 w 571500"/>
                <a:gd name="connsiteY1" fmla="*/ 0 h 571500"/>
                <a:gd name="connsiteX2" fmla="*/ 0 w 571500"/>
                <a:gd name="connsiteY2" fmla="*/ 47625 h 571500"/>
                <a:gd name="connsiteX3" fmla="*/ 0 w 571500"/>
                <a:gd name="connsiteY3" fmla="*/ 390525 h 571500"/>
                <a:gd name="connsiteX4" fmla="*/ 0 w 571500"/>
                <a:gd name="connsiteY4" fmla="*/ 409575 h 571500"/>
                <a:gd name="connsiteX5" fmla="*/ 47625 w 571500"/>
                <a:gd name="connsiteY5" fmla="*/ 457200 h 571500"/>
                <a:gd name="connsiteX6" fmla="*/ 257175 w 571500"/>
                <a:gd name="connsiteY6" fmla="*/ 457200 h 571500"/>
                <a:gd name="connsiteX7" fmla="*/ 257175 w 571500"/>
                <a:gd name="connsiteY7" fmla="*/ 495300 h 571500"/>
                <a:gd name="connsiteX8" fmla="*/ 180975 w 571500"/>
                <a:gd name="connsiteY8" fmla="*/ 495300 h 571500"/>
                <a:gd name="connsiteX9" fmla="*/ 133350 w 571500"/>
                <a:gd name="connsiteY9" fmla="*/ 542925 h 571500"/>
                <a:gd name="connsiteX10" fmla="*/ 133350 w 571500"/>
                <a:gd name="connsiteY10" fmla="*/ 561975 h 571500"/>
                <a:gd name="connsiteX11" fmla="*/ 142875 w 571500"/>
                <a:gd name="connsiteY11" fmla="*/ 571500 h 571500"/>
                <a:gd name="connsiteX12" fmla="*/ 428625 w 571500"/>
                <a:gd name="connsiteY12" fmla="*/ 571500 h 571500"/>
                <a:gd name="connsiteX13" fmla="*/ 438150 w 571500"/>
                <a:gd name="connsiteY13" fmla="*/ 561975 h 571500"/>
                <a:gd name="connsiteX14" fmla="*/ 438150 w 571500"/>
                <a:gd name="connsiteY14" fmla="*/ 542925 h 571500"/>
                <a:gd name="connsiteX15" fmla="*/ 390525 w 571500"/>
                <a:gd name="connsiteY15" fmla="*/ 495300 h 571500"/>
                <a:gd name="connsiteX16" fmla="*/ 314325 w 571500"/>
                <a:gd name="connsiteY16" fmla="*/ 495300 h 571500"/>
                <a:gd name="connsiteX17" fmla="*/ 314325 w 571500"/>
                <a:gd name="connsiteY17" fmla="*/ 457200 h 571500"/>
                <a:gd name="connsiteX18" fmla="*/ 523875 w 571500"/>
                <a:gd name="connsiteY18" fmla="*/ 457200 h 571500"/>
                <a:gd name="connsiteX19" fmla="*/ 571500 w 571500"/>
                <a:gd name="connsiteY19" fmla="*/ 409575 h 571500"/>
                <a:gd name="connsiteX20" fmla="*/ 571500 w 571500"/>
                <a:gd name="connsiteY20" fmla="*/ 390525 h 571500"/>
                <a:gd name="connsiteX21" fmla="*/ 571500 w 571500"/>
                <a:gd name="connsiteY21" fmla="*/ 47625 h 571500"/>
                <a:gd name="connsiteX22" fmla="*/ 523875 w 571500"/>
                <a:gd name="connsiteY22" fmla="*/ 0 h 571500"/>
                <a:gd name="connsiteX23" fmla="*/ 47625 w 571500"/>
                <a:gd name="connsiteY23" fmla="*/ 19050 h 571500"/>
                <a:gd name="connsiteX24" fmla="*/ 523875 w 571500"/>
                <a:gd name="connsiteY24" fmla="*/ 19050 h 571500"/>
                <a:gd name="connsiteX25" fmla="*/ 552450 w 571500"/>
                <a:gd name="connsiteY25" fmla="*/ 47625 h 571500"/>
                <a:gd name="connsiteX26" fmla="*/ 552450 w 571500"/>
                <a:gd name="connsiteY26" fmla="*/ 381000 h 571500"/>
                <a:gd name="connsiteX27" fmla="*/ 19050 w 571500"/>
                <a:gd name="connsiteY27" fmla="*/ 381000 h 571500"/>
                <a:gd name="connsiteX28" fmla="*/ 19050 w 571500"/>
                <a:gd name="connsiteY28" fmla="*/ 47625 h 571500"/>
                <a:gd name="connsiteX29" fmla="*/ 47625 w 571500"/>
                <a:gd name="connsiteY29" fmla="*/ 19050 h 571500"/>
                <a:gd name="connsiteX30" fmla="*/ 419100 w 571500"/>
                <a:gd name="connsiteY30" fmla="*/ 542925 h 571500"/>
                <a:gd name="connsiteX31" fmla="*/ 419100 w 571500"/>
                <a:gd name="connsiteY31" fmla="*/ 552450 h 571500"/>
                <a:gd name="connsiteX32" fmla="*/ 152400 w 571500"/>
                <a:gd name="connsiteY32" fmla="*/ 552450 h 571500"/>
                <a:gd name="connsiteX33" fmla="*/ 152400 w 571500"/>
                <a:gd name="connsiteY33" fmla="*/ 542925 h 571500"/>
                <a:gd name="connsiteX34" fmla="*/ 180975 w 571500"/>
                <a:gd name="connsiteY34" fmla="*/ 514350 h 571500"/>
                <a:gd name="connsiteX35" fmla="*/ 266700 w 571500"/>
                <a:gd name="connsiteY35" fmla="*/ 514350 h 571500"/>
                <a:gd name="connsiteX36" fmla="*/ 304800 w 571500"/>
                <a:gd name="connsiteY36" fmla="*/ 514350 h 571500"/>
                <a:gd name="connsiteX37" fmla="*/ 390525 w 571500"/>
                <a:gd name="connsiteY37" fmla="*/ 514350 h 571500"/>
                <a:gd name="connsiteX38" fmla="*/ 419100 w 571500"/>
                <a:gd name="connsiteY38" fmla="*/ 542925 h 571500"/>
                <a:gd name="connsiteX39" fmla="*/ 295275 w 571500"/>
                <a:gd name="connsiteY39" fmla="*/ 495300 h 571500"/>
                <a:gd name="connsiteX40" fmla="*/ 276225 w 571500"/>
                <a:gd name="connsiteY40" fmla="*/ 495300 h 571500"/>
                <a:gd name="connsiteX41" fmla="*/ 276225 w 571500"/>
                <a:gd name="connsiteY41" fmla="*/ 457200 h 571500"/>
                <a:gd name="connsiteX42" fmla="*/ 295275 w 571500"/>
                <a:gd name="connsiteY42" fmla="*/ 457200 h 571500"/>
                <a:gd name="connsiteX43" fmla="*/ 295275 w 571500"/>
                <a:gd name="connsiteY43" fmla="*/ 495300 h 571500"/>
                <a:gd name="connsiteX44" fmla="*/ 552450 w 571500"/>
                <a:gd name="connsiteY44" fmla="*/ 409575 h 571500"/>
                <a:gd name="connsiteX45" fmla="*/ 523875 w 571500"/>
                <a:gd name="connsiteY45" fmla="*/ 438150 h 571500"/>
                <a:gd name="connsiteX46" fmla="*/ 304800 w 571500"/>
                <a:gd name="connsiteY46" fmla="*/ 438150 h 571500"/>
                <a:gd name="connsiteX47" fmla="*/ 266700 w 571500"/>
                <a:gd name="connsiteY47" fmla="*/ 438150 h 571500"/>
                <a:gd name="connsiteX48" fmla="*/ 47625 w 571500"/>
                <a:gd name="connsiteY48" fmla="*/ 438150 h 571500"/>
                <a:gd name="connsiteX49" fmla="*/ 19050 w 571500"/>
                <a:gd name="connsiteY49" fmla="*/ 409575 h 571500"/>
                <a:gd name="connsiteX50" fmla="*/ 19050 w 571500"/>
                <a:gd name="connsiteY50" fmla="*/ 400050 h 571500"/>
                <a:gd name="connsiteX51" fmla="*/ 552450 w 571500"/>
                <a:gd name="connsiteY51" fmla="*/ 400050 h 571500"/>
                <a:gd name="connsiteX52" fmla="*/ 552450 w 571500"/>
                <a:gd name="connsiteY52" fmla="*/ 40957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71500" h="571500">
                  <a:moveTo>
                    <a:pt x="523875" y="0"/>
                  </a:moveTo>
                  <a:lnTo>
                    <a:pt x="47625" y="0"/>
                  </a:lnTo>
                  <a:cubicBezTo>
                    <a:pt x="21365" y="0"/>
                    <a:pt x="0" y="21365"/>
                    <a:pt x="0" y="47625"/>
                  </a:cubicBezTo>
                  <a:lnTo>
                    <a:pt x="0" y="390525"/>
                  </a:lnTo>
                  <a:lnTo>
                    <a:pt x="0" y="409575"/>
                  </a:lnTo>
                  <a:cubicBezTo>
                    <a:pt x="0" y="435835"/>
                    <a:pt x="21365" y="457200"/>
                    <a:pt x="47625" y="457200"/>
                  </a:cubicBezTo>
                  <a:lnTo>
                    <a:pt x="257175" y="457200"/>
                  </a:lnTo>
                  <a:lnTo>
                    <a:pt x="257175" y="495300"/>
                  </a:lnTo>
                  <a:lnTo>
                    <a:pt x="180975" y="495300"/>
                  </a:lnTo>
                  <a:cubicBezTo>
                    <a:pt x="154715" y="495300"/>
                    <a:pt x="133350" y="516665"/>
                    <a:pt x="133350" y="542925"/>
                  </a:cubicBezTo>
                  <a:lnTo>
                    <a:pt x="133350" y="561975"/>
                  </a:lnTo>
                  <a:cubicBezTo>
                    <a:pt x="133350" y="567233"/>
                    <a:pt x="137617" y="571500"/>
                    <a:pt x="142875" y="571500"/>
                  </a:cubicBezTo>
                  <a:lnTo>
                    <a:pt x="428625" y="571500"/>
                  </a:lnTo>
                  <a:cubicBezTo>
                    <a:pt x="433883" y="571500"/>
                    <a:pt x="438150" y="567233"/>
                    <a:pt x="438150" y="561975"/>
                  </a:cubicBezTo>
                  <a:lnTo>
                    <a:pt x="438150" y="542925"/>
                  </a:lnTo>
                  <a:cubicBezTo>
                    <a:pt x="438150" y="516665"/>
                    <a:pt x="416785" y="495300"/>
                    <a:pt x="390525" y="495300"/>
                  </a:cubicBezTo>
                  <a:lnTo>
                    <a:pt x="314325" y="495300"/>
                  </a:lnTo>
                  <a:lnTo>
                    <a:pt x="314325" y="457200"/>
                  </a:lnTo>
                  <a:lnTo>
                    <a:pt x="523875" y="457200"/>
                  </a:lnTo>
                  <a:cubicBezTo>
                    <a:pt x="550135" y="457200"/>
                    <a:pt x="571500" y="435835"/>
                    <a:pt x="571500" y="409575"/>
                  </a:cubicBezTo>
                  <a:lnTo>
                    <a:pt x="571500" y="390525"/>
                  </a:lnTo>
                  <a:lnTo>
                    <a:pt x="571500" y="47625"/>
                  </a:lnTo>
                  <a:cubicBezTo>
                    <a:pt x="571500" y="21365"/>
                    <a:pt x="550135" y="0"/>
                    <a:pt x="523875" y="0"/>
                  </a:cubicBezTo>
                  <a:close/>
                  <a:moveTo>
                    <a:pt x="47625" y="19050"/>
                  </a:moveTo>
                  <a:lnTo>
                    <a:pt x="523875" y="19050"/>
                  </a:lnTo>
                  <a:cubicBezTo>
                    <a:pt x="539629" y="19050"/>
                    <a:pt x="552450" y="31871"/>
                    <a:pt x="552450" y="47625"/>
                  </a:cubicBezTo>
                  <a:lnTo>
                    <a:pt x="552450" y="381000"/>
                  </a:lnTo>
                  <a:lnTo>
                    <a:pt x="19050" y="381000"/>
                  </a:lnTo>
                  <a:lnTo>
                    <a:pt x="19050" y="47625"/>
                  </a:lnTo>
                  <a:cubicBezTo>
                    <a:pt x="19050" y="31871"/>
                    <a:pt x="31871" y="19050"/>
                    <a:pt x="47625" y="19050"/>
                  </a:cubicBezTo>
                  <a:close/>
                  <a:moveTo>
                    <a:pt x="419100" y="542925"/>
                  </a:moveTo>
                  <a:lnTo>
                    <a:pt x="419100" y="552450"/>
                  </a:lnTo>
                  <a:lnTo>
                    <a:pt x="152400" y="552450"/>
                  </a:lnTo>
                  <a:lnTo>
                    <a:pt x="152400" y="542925"/>
                  </a:lnTo>
                  <a:cubicBezTo>
                    <a:pt x="152400" y="527171"/>
                    <a:pt x="165221" y="514350"/>
                    <a:pt x="180975" y="514350"/>
                  </a:cubicBezTo>
                  <a:lnTo>
                    <a:pt x="266700" y="514350"/>
                  </a:lnTo>
                  <a:lnTo>
                    <a:pt x="304800" y="514350"/>
                  </a:lnTo>
                  <a:lnTo>
                    <a:pt x="390525" y="514350"/>
                  </a:lnTo>
                  <a:cubicBezTo>
                    <a:pt x="406279" y="514350"/>
                    <a:pt x="419100" y="527171"/>
                    <a:pt x="419100" y="542925"/>
                  </a:cubicBezTo>
                  <a:close/>
                  <a:moveTo>
                    <a:pt x="295275" y="495300"/>
                  </a:moveTo>
                  <a:lnTo>
                    <a:pt x="276225" y="495300"/>
                  </a:lnTo>
                  <a:lnTo>
                    <a:pt x="276225" y="457200"/>
                  </a:lnTo>
                  <a:lnTo>
                    <a:pt x="295275" y="457200"/>
                  </a:lnTo>
                  <a:lnTo>
                    <a:pt x="295275" y="495300"/>
                  </a:lnTo>
                  <a:close/>
                  <a:moveTo>
                    <a:pt x="552450" y="409575"/>
                  </a:moveTo>
                  <a:cubicBezTo>
                    <a:pt x="552450" y="425329"/>
                    <a:pt x="539629" y="438150"/>
                    <a:pt x="523875" y="438150"/>
                  </a:cubicBezTo>
                  <a:lnTo>
                    <a:pt x="304800" y="438150"/>
                  </a:lnTo>
                  <a:lnTo>
                    <a:pt x="266700" y="438150"/>
                  </a:lnTo>
                  <a:lnTo>
                    <a:pt x="47625" y="438150"/>
                  </a:lnTo>
                  <a:cubicBezTo>
                    <a:pt x="31871" y="438150"/>
                    <a:pt x="19050" y="425329"/>
                    <a:pt x="19050" y="409575"/>
                  </a:cubicBezTo>
                  <a:lnTo>
                    <a:pt x="19050" y="400050"/>
                  </a:lnTo>
                  <a:lnTo>
                    <a:pt x="552450" y="400050"/>
                  </a:lnTo>
                  <a:lnTo>
                    <a:pt x="552450" y="409575"/>
                  </a:lnTo>
                  <a:close/>
                </a:path>
              </a:pathLst>
            </a:custGeom>
            <a:grpFill/>
            <a:ln w="3175" cap="flat">
              <a:solidFill>
                <a:schemeClr val="bg1"/>
              </a:solidFill>
              <a:prstDash val="solid"/>
              <a:miter/>
            </a:ln>
          </p:spPr>
          <p:txBody>
            <a:bodyPr rtlCol="0" anchor="ctr"/>
            <a:lstStyle/>
            <a:p>
              <a:pPr algn="r" rtl="1"/>
              <a:endParaRPr lang="en-US"/>
            </a:p>
          </p:txBody>
        </p:sp>
        <p:sp>
          <p:nvSpPr>
            <p:cNvPr id="251" name="Freeform: Shape 250">
              <a:extLst>
                <a:ext uri="{FF2B5EF4-FFF2-40B4-BE49-F238E27FC236}">
                  <a16:creationId xmlns:a16="http://schemas.microsoft.com/office/drawing/2014/main" id="{A5EB3B7B-ED7E-4BD6-BA6A-A29DC322EF1F}"/>
                </a:ext>
              </a:extLst>
            </p:cNvPr>
            <p:cNvSpPr/>
            <p:nvPr/>
          </p:nvSpPr>
          <p:spPr>
            <a:xfrm>
              <a:off x="-469543" y="3814786"/>
              <a:ext cx="285750" cy="323850"/>
            </a:xfrm>
            <a:custGeom>
              <a:avLst/>
              <a:gdLst>
                <a:gd name="connsiteX0" fmla="*/ 9525 w 285750"/>
                <a:gd name="connsiteY0" fmla="*/ 323850 h 323850"/>
                <a:gd name="connsiteX1" fmla="*/ 285750 w 285750"/>
                <a:gd name="connsiteY1" fmla="*/ 323850 h 323850"/>
                <a:gd name="connsiteX2" fmla="*/ 285750 w 285750"/>
                <a:gd name="connsiteY2" fmla="*/ 304800 h 323850"/>
                <a:gd name="connsiteX3" fmla="*/ 19050 w 285750"/>
                <a:gd name="connsiteY3" fmla="*/ 304800 h 323850"/>
                <a:gd name="connsiteX4" fmla="*/ 19050 w 285750"/>
                <a:gd name="connsiteY4" fmla="*/ 0 h 323850"/>
                <a:gd name="connsiteX5" fmla="*/ 0 w 285750"/>
                <a:gd name="connsiteY5" fmla="*/ 0 h 323850"/>
                <a:gd name="connsiteX6" fmla="*/ 0 w 285750"/>
                <a:gd name="connsiteY6" fmla="*/ 314325 h 323850"/>
                <a:gd name="connsiteX7" fmla="*/ 9525 w 285750"/>
                <a:gd name="connsiteY7"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323850">
                  <a:moveTo>
                    <a:pt x="9525" y="323850"/>
                  </a:moveTo>
                  <a:lnTo>
                    <a:pt x="285750" y="323850"/>
                  </a:lnTo>
                  <a:lnTo>
                    <a:pt x="285750" y="304800"/>
                  </a:lnTo>
                  <a:lnTo>
                    <a:pt x="19050" y="304800"/>
                  </a:lnTo>
                  <a:lnTo>
                    <a:pt x="19050" y="0"/>
                  </a:lnTo>
                  <a:lnTo>
                    <a:pt x="0" y="0"/>
                  </a:lnTo>
                  <a:lnTo>
                    <a:pt x="0" y="314325"/>
                  </a:lnTo>
                  <a:cubicBezTo>
                    <a:pt x="0" y="319583"/>
                    <a:pt x="4267" y="323850"/>
                    <a:pt x="9525" y="323850"/>
                  </a:cubicBezTo>
                  <a:close/>
                </a:path>
              </a:pathLst>
            </a:custGeom>
            <a:grpFill/>
            <a:ln w="3175" cap="flat">
              <a:solidFill>
                <a:schemeClr val="bg1"/>
              </a:solidFill>
              <a:prstDash val="solid"/>
              <a:miter/>
            </a:ln>
          </p:spPr>
          <p:txBody>
            <a:bodyPr rtlCol="0" anchor="ctr"/>
            <a:lstStyle/>
            <a:p>
              <a:pPr algn="r" rtl="1"/>
              <a:endParaRPr lang="en-US"/>
            </a:p>
          </p:txBody>
        </p:sp>
        <p:sp>
          <p:nvSpPr>
            <p:cNvPr id="252" name="Freeform: Shape 251">
              <a:extLst>
                <a:ext uri="{FF2B5EF4-FFF2-40B4-BE49-F238E27FC236}">
                  <a16:creationId xmlns:a16="http://schemas.microsoft.com/office/drawing/2014/main" id="{B2713A33-CCC8-4A82-98E2-CE6938C9A6C1}"/>
                </a:ext>
              </a:extLst>
            </p:cNvPr>
            <p:cNvSpPr/>
            <p:nvPr/>
          </p:nvSpPr>
          <p:spPr>
            <a:xfrm>
              <a:off x="-679093" y="4024336"/>
              <a:ext cx="190500" cy="114300"/>
            </a:xfrm>
            <a:custGeom>
              <a:avLst/>
              <a:gdLst>
                <a:gd name="connsiteX0" fmla="*/ 9525 w 190500"/>
                <a:gd name="connsiteY0" fmla="*/ 114300 h 114300"/>
                <a:gd name="connsiteX1" fmla="*/ 180975 w 190500"/>
                <a:gd name="connsiteY1" fmla="*/ 114300 h 114300"/>
                <a:gd name="connsiteX2" fmla="*/ 190500 w 190500"/>
                <a:gd name="connsiteY2" fmla="*/ 104775 h 114300"/>
                <a:gd name="connsiteX3" fmla="*/ 190500 w 190500"/>
                <a:gd name="connsiteY3" fmla="*/ 9525 h 114300"/>
                <a:gd name="connsiteX4" fmla="*/ 180975 w 190500"/>
                <a:gd name="connsiteY4" fmla="*/ 0 h 114300"/>
                <a:gd name="connsiteX5" fmla="*/ 9525 w 190500"/>
                <a:gd name="connsiteY5" fmla="*/ 0 h 114300"/>
                <a:gd name="connsiteX6" fmla="*/ 0 w 190500"/>
                <a:gd name="connsiteY6" fmla="*/ 9525 h 114300"/>
                <a:gd name="connsiteX7" fmla="*/ 0 w 190500"/>
                <a:gd name="connsiteY7" fmla="*/ 104775 h 114300"/>
                <a:gd name="connsiteX8" fmla="*/ 9525 w 190500"/>
                <a:gd name="connsiteY8" fmla="*/ 114300 h 114300"/>
                <a:gd name="connsiteX9" fmla="*/ 19050 w 190500"/>
                <a:gd name="connsiteY9" fmla="*/ 19050 h 114300"/>
                <a:gd name="connsiteX10" fmla="*/ 171450 w 190500"/>
                <a:gd name="connsiteY10" fmla="*/ 19050 h 114300"/>
                <a:gd name="connsiteX11" fmla="*/ 171450 w 190500"/>
                <a:gd name="connsiteY11" fmla="*/ 95250 h 114300"/>
                <a:gd name="connsiteX12" fmla="*/ 19050 w 190500"/>
                <a:gd name="connsiteY12" fmla="*/ 95250 h 114300"/>
                <a:gd name="connsiteX13" fmla="*/ 19050 w 190500"/>
                <a:gd name="connsiteY13"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500" h="114300">
                  <a:moveTo>
                    <a:pt x="9525" y="114300"/>
                  </a:moveTo>
                  <a:lnTo>
                    <a:pt x="180975" y="114300"/>
                  </a:lnTo>
                  <a:cubicBezTo>
                    <a:pt x="186233" y="114300"/>
                    <a:pt x="190500" y="110033"/>
                    <a:pt x="190500" y="104775"/>
                  </a:cubicBezTo>
                  <a:lnTo>
                    <a:pt x="190500" y="9525"/>
                  </a:lnTo>
                  <a:cubicBezTo>
                    <a:pt x="190500" y="4267"/>
                    <a:pt x="186233" y="0"/>
                    <a:pt x="180975" y="0"/>
                  </a:cubicBezTo>
                  <a:lnTo>
                    <a:pt x="9525" y="0"/>
                  </a:lnTo>
                  <a:cubicBezTo>
                    <a:pt x="4267" y="0"/>
                    <a:pt x="0" y="4267"/>
                    <a:pt x="0" y="9525"/>
                  </a:cubicBezTo>
                  <a:lnTo>
                    <a:pt x="0" y="104775"/>
                  </a:lnTo>
                  <a:cubicBezTo>
                    <a:pt x="0" y="110033"/>
                    <a:pt x="4267" y="114300"/>
                    <a:pt x="9525" y="114300"/>
                  </a:cubicBezTo>
                  <a:close/>
                  <a:moveTo>
                    <a:pt x="19050" y="19050"/>
                  </a:moveTo>
                  <a:lnTo>
                    <a:pt x="171450" y="19050"/>
                  </a:lnTo>
                  <a:lnTo>
                    <a:pt x="171450" y="95250"/>
                  </a:lnTo>
                  <a:lnTo>
                    <a:pt x="19050" y="95250"/>
                  </a:lnTo>
                  <a:lnTo>
                    <a:pt x="19050" y="19050"/>
                  </a:lnTo>
                  <a:close/>
                </a:path>
              </a:pathLst>
            </a:custGeom>
            <a:grpFill/>
            <a:ln w="3175" cap="flat">
              <a:solidFill>
                <a:schemeClr val="bg1"/>
              </a:solidFill>
              <a:prstDash val="solid"/>
              <a:miter/>
            </a:ln>
          </p:spPr>
          <p:txBody>
            <a:bodyPr rtlCol="0" anchor="ctr"/>
            <a:lstStyle/>
            <a:p>
              <a:pPr algn="r" rtl="1"/>
              <a:endParaRPr lang="en-US"/>
            </a:p>
          </p:txBody>
        </p:sp>
        <p:sp>
          <p:nvSpPr>
            <p:cNvPr id="253" name="Freeform: Shape 252">
              <a:extLst>
                <a:ext uri="{FF2B5EF4-FFF2-40B4-BE49-F238E27FC236}">
                  <a16:creationId xmlns:a16="http://schemas.microsoft.com/office/drawing/2014/main" id="{53524D85-357E-40D3-BF12-57D2DDE455D0}"/>
                </a:ext>
              </a:extLst>
            </p:cNvPr>
            <p:cNvSpPr/>
            <p:nvPr/>
          </p:nvSpPr>
          <p:spPr>
            <a:xfrm>
              <a:off x="-439977" y="3862410"/>
              <a:ext cx="253384" cy="242383"/>
            </a:xfrm>
            <a:custGeom>
              <a:avLst/>
              <a:gdLst>
                <a:gd name="connsiteX0" fmla="*/ 49244 w 253384"/>
                <a:gd name="connsiteY0" fmla="*/ 178004 h 242383"/>
                <a:gd name="connsiteX1" fmla="*/ 78000 w 253384"/>
                <a:gd name="connsiteY1" fmla="*/ 206760 h 242383"/>
                <a:gd name="connsiteX2" fmla="*/ 90449 w 253384"/>
                <a:gd name="connsiteY2" fmla="*/ 207646 h 242383"/>
                <a:gd name="connsiteX3" fmla="*/ 128549 w 253384"/>
                <a:gd name="connsiteY3" fmla="*/ 179071 h 242383"/>
                <a:gd name="connsiteX4" fmla="*/ 131969 w 253384"/>
                <a:gd name="connsiteY4" fmla="*/ 174137 h 242383"/>
                <a:gd name="connsiteX5" fmla="*/ 168402 w 253384"/>
                <a:gd name="connsiteY5" fmla="*/ 50264 h 242383"/>
                <a:gd name="connsiteX6" fmla="*/ 189662 w 253384"/>
                <a:gd name="connsiteY6" fmla="*/ 163678 h 242383"/>
                <a:gd name="connsiteX7" fmla="*/ 196215 w 253384"/>
                <a:gd name="connsiteY7" fmla="*/ 171022 h 242383"/>
                <a:gd name="connsiteX8" fmla="*/ 205759 w 253384"/>
                <a:gd name="connsiteY8" fmla="*/ 168650 h 242383"/>
                <a:gd name="connsiteX9" fmla="*/ 253384 w 253384"/>
                <a:gd name="connsiteY9" fmla="*/ 121025 h 242383"/>
                <a:gd name="connsiteX10" fmla="*/ 239916 w 253384"/>
                <a:gd name="connsiteY10" fmla="*/ 107557 h 242383"/>
                <a:gd name="connsiteX11" fmla="*/ 205054 w 253384"/>
                <a:gd name="connsiteY11" fmla="*/ 142409 h 242383"/>
                <a:gd name="connsiteX12" fmla="*/ 179813 w 253384"/>
                <a:gd name="connsiteY12" fmla="*/ 7763 h 242383"/>
                <a:gd name="connsiteX13" fmla="*/ 170926 w 253384"/>
                <a:gd name="connsiteY13" fmla="*/ 10 h 242383"/>
                <a:gd name="connsiteX14" fmla="*/ 161306 w 253384"/>
                <a:gd name="connsiteY14" fmla="*/ 6830 h 242383"/>
                <a:gd name="connsiteX15" fmla="*/ 114576 w 253384"/>
                <a:gd name="connsiteY15" fmla="*/ 165726 h 242383"/>
                <a:gd name="connsiteX16" fmla="*/ 85611 w 253384"/>
                <a:gd name="connsiteY16" fmla="*/ 187443 h 242383"/>
                <a:gd name="connsiteX17" fmla="*/ 53350 w 253384"/>
                <a:gd name="connsiteY17" fmla="*/ 155182 h 242383"/>
                <a:gd name="connsiteX18" fmla="*/ 45091 w 253384"/>
                <a:gd name="connsiteY18" fmla="*/ 152515 h 242383"/>
                <a:gd name="connsiteX19" fmla="*/ 38100 w 253384"/>
                <a:gd name="connsiteY19" fmla="*/ 157658 h 242383"/>
                <a:gd name="connsiteX20" fmla="*/ 0 w 253384"/>
                <a:gd name="connsiteY20" fmla="*/ 233858 h 242383"/>
                <a:gd name="connsiteX21" fmla="*/ 17040 w 253384"/>
                <a:gd name="connsiteY21" fmla="*/ 242383 h 242383"/>
                <a:gd name="connsiteX22" fmla="*/ 49244 w 253384"/>
                <a:gd name="connsiteY22" fmla="*/ 178004 h 24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3384" h="242383">
                  <a:moveTo>
                    <a:pt x="49244" y="178004"/>
                  </a:moveTo>
                  <a:lnTo>
                    <a:pt x="78000" y="206760"/>
                  </a:lnTo>
                  <a:cubicBezTo>
                    <a:pt x="81353" y="210113"/>
                    <a:pt x="86658" y="210494"/>
                    <a:pt x="90449" y="207646"/>
                  </a:cubicBezTo>
                  <a:lnTo>
                    <a:pt x="128549" y="179071"/>
                  </a:lnTo>
                  <a:cubicBezTo>
                    <a:pt x="130188" y="177842"/>
                    <a:pt x="131388" y="176108"/>
                    <a:pt x="131969" y="174137"/>
                  </a:cubicBezTo>
                  <a:lnTo>
                    <a:pt x="168402" y="50264"/>
                  </a:lnTo>
                  <a:lnTo>
                    <a:pt x="189662" y="163678"/>
                  </a:lnTo>
                  <a:cubicBezTo>
                    <a:pt x="190310" y="167155"/>
                    <a:pt x="192834" y="169984"/>
                    <a:pt x="196215" y="171022"/>
                  </a:cubicBezTo>
                  <a:cubicBezTo>
                    <a:pt x="199587" y="172041"/>
                    <a:pt x="203264" y="171155"/>
                    <a:pt x="205759" y="168650"/>
                  </a:cubicBezTo>
                  <a:lnTo>
                    <a:pt x="253384" y="121025"/>
                  </a:lnTo>
                  <a:lnTo>
                    <a:pt x="239916" y="107557"/>
                  </a:lnTo>
                  <a:lnTo>
                    <a:pt x="205054" y="142409"/>
                  </a:lnTo>
                  <a:lnTo>
                    <a:pt x="179813" y="7763"/>
                  </a:lnTo>
                  <a:cubicBezTo>
                    <a:pt x="179003" y="3430"/>
                    <a:pt x="175327" y="220"/>
                    <a:pt x="170926" y="10"/>
                  </a:cubicBezTo>
                  <a:cubicBezTo>
                    <a:pt x="166497" y="-190"/>
                    <a:pt x="162554" y="2601"/>
                    <a:pt x="161306" y="6830"/>
                  </a:cubicBezTo>
                  <a:lnTo>
                    <a:pt x="114576" y="165726"/>
                  </a:lnTo>
                  <a:lnTo>
                    <a:pt x="85611" y="187443"/>
                  </a:lnTo>
                  <a:lnTo>
                    <a:pt x="53350" y="155182"/>
                  </a:lnTo>
                  <a:cubicBezTo>
                    <a:pt x="51178" y="153010"/>
                    <a:pt x="48092" y="152039"/>
                    <a:pt x="45091" y="152515"/>
                  </a:cubicBezTo>
                  <a:cubicBezTo>
                    <a:pt x="42072" y="153010"/>
                    <a:pt x="39472" y="154915"/>
                    <a:pt x="38100" y="157658"/>
                  </a:cubicBezTo>
                  <a:lnTo>
                    <a:pt x="0" y="233858"/>
                  </a:lnTo>
                  <a:lnTo>
                    <a:pt x="17040" y="242383"/>
                  </a:lnTo>
                  <a:lnTo>
                    <a:pt x="49244" y="178004"/>
                  </a:lnTo>
                  <a:close/>
                </a:path>
              </a:pathLst>
            </a:custGeom>
            <a:grpFill/>
            <a:ln w="3175" cap="flat">
              <a:solidFill>
                <a:schemeClr val="bg1"/>
              </a:solidFill>
              <a:prstDash val="solid"/>
              <a:miter/>
            </a:ln>
          </p:spPr>
          <p:txBody>
            <a:bodyPr rtlCol="0" anchor="ctr"/>
            <a:lstStyle/>
            <a:p>
              <a:pPr algn="r" rtl="1"/>
              <a:endParaRPr lang="en-US"/>
            </a:p>
          </p:txBody>
        </p:sp>
      </p:grpSp>
      <p:grpSp>
        <p:nvGrpSpPr>
          <p:cNvPr id="254" name="Graphic 175">
            <a:extLst>
              <a:ext uri="{FF2B5EF4-FFF2-40B4-BE49-F238E27FC236}">
                <a16:creationId xmlns:a16="http://schemas.microsoft.com/office/drawing/2014/main" id="{88BB1A7B-A557-4EDE-A8BD-F74D07990B44}"/>
              </a:ext>
            </a:extLst>
          </p:cNvPr>
          <p:cNvGrpSpPr/>
          <p:nvPr/>
        </p:nvGrpSpPr>
        <p:grpSpPr>
          <a:xfrm flipH="1">
            <a:off x="9410874" y="5900264"/>
            <a:ext cx="377138" cy="377120"/>
            <a:chOff x="-96078" y="4142724"/>
            <a:chExt cx="609600" cy="609600"/>
          </a:xfrm>
          <a:solidFill>
            <a:schemeClr val="bg1"/>
          </a:solidFill>
        </p:grpSpPr>
        <p:sp>
          <p:nvSpPr>
            <p:cNvPr id="255" name="Freeform: Shape 254">
              <a:extLst>
                <a:ext uri="{FF2B5EF4-FFF2-40B4-BE49-F238E27FC236}">
                  <a16:creationId xmlns:a16="http://schemas.microsoft.com/office/drawing/2014/main" id="{815B813C-7138-4DF8-AED4-2AEBE84EA9D2}"/>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256" name="Freeform: Shape 255">
              <a:extLst>
                <a:ext uri="{FF2B5EF4-FFF2-40B4-BE49-F238E27FC236}">
                  <a16:creationId xmlns:a16="http://schemas.microsoft.com/office/drawing/2014/main" id="{FD9DB1EC-5E25-432E-8765-7144EAEFDB60}"/>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257" name="Freeform: Shape 256">
              <a:extLst>
                <a:ext uri="{FF2B5EF4-FFF2-40B4-BE49-F238E27FC236}">
                  <a16:creationId xmlns:a16="http://schemas.microsoft.com/office/drawing/2014/main" id="{30DF48FD-144B-45C0-9D90-B82D20B646EB}"/>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258" name="Freeform: Shape 257">
              <a:extLst>
                <a:ext uri="{FF2B5EF4-FFF2-40B4-BE49-F238E27FC236}">
                  <a16:creationId xmlns:a16="http://schemas.microsoft.com/office/drawing/2014/main" id="{FB1F08B5-F21A-47A7-BFC4-1C0DD3F4AC00}"/>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algn="r" rtl="1"/>
              <a:endParaRPr lang="en-US"/>
            </a:p>
          </p:txBody>
        </p:sp>
        <p:sp>
          <p:nvSpPr>
            <p:cNvPr id="259" name="Freeform: Shape 258">
              <a:extLst>
                <a:ext uri="{FF2B5EF4-FFF2-40B4-BE49-F238E27FC236}">
                  <a16:creationId xmlns:a16="http://schemas.microsoft.com/office/drawing/2014/main" id="{BF98BB63-65CA-4C60-B296-C93344B7BA1B}"/>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algn="r" rtl="1"/>
              <a:endParaRPr lang="en-US"/>
            </a:p>
          </p:txBody>
        </p:sp>
        <p:sp>
          <p:nvSpPr>
            <p:cNvPr id="260" name="Freeform: Shape 259">
              <a:extLst>
                <a:ext uri="{FF2B5EF4-FFF2-40B4-BE49-F238E27FC236}">
                  <a16:creationId xmlns:a16="http://schemas.microsoft.com/office/drawing/2014/main" id="{23924DE5-4488-45A1-BD52-467D7CD477FD}"/>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a:p>
          </p:txBody>
        </p:sp>
        <p:sp>
          <p:nvSpPr>
            <p:cNvPr id="261" name="Freeform: Shape 260">
              <a:extLst>
                <a:ext uri="{FF2B5EF4-FFF2-40B4-BE49-F238E27FC236}">
                  <a16:creationId xmlns:a16="http://schemas.microsoft.com/office/drawing/2014/main" id="{556C5C57-57F5-480F-9DF6-D7FFCF89CE49}"/>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a:p>
          </p:txBody>
        </p:sp>
        <p:sp>
          <p:nvSpPr>
            <p:cNvPr id="262" name="Freeform: Shape 261">
              <a:extLst>
                <a:ext uri="{FF2B5EF4-FFF2-40B4-BE49-F238E27FC236}">
                  <a16:creationId xmlns:a16="http://schemas.microsoft.com/office/drawing/2014/main" id="{BD83149B-E0ED-4B6B-91F5-183532955D78}"/>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a:p>
          </p:txBody>
        </p:sp>
        <p:sp>
          <p:nvSpPr>
            <p:cNvPr id="263" name="Freeform: Shape 262">
              <a:extLst>
                <a:ext uri="{FF2B5EF4-FFF2-40B4-BE49-F238E27FC236}">
                  <a16:creationId xmlns:a16="http://schemas.microsoft.com/office/drawing/2014/main" id="{6F6E7DBD-45B7-42B3-834E-5DD99EEFEBE1}"/>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a:p>
          </p:txBody>
        </p:sp>
        <p:sp>
          <p:nvSpPr>
            <p:cNvPr id="264" name="Freeform: Shape 263">
              <a:extLst>
                <a:ext uri="{FF2B5EF4-FFF2-40B4-BE49-F238E27FC236}">
                  <a16:creationId xmlns:a16="http://schemas.microsoft.com/office/drawing/2014/main" id="{EAFA5473-15C5-456C-8E61-E4DF8ECB01C4}"/>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a:p>
          </p:txBody>
        </p:sp>
        <p:sp>
          <p:nvSpPr>
            <p:cNvPr id="265" name="Freeform: Shape 264">
              <a:extLst>
                <a:ext uri="{FF2B5EF4-FFF2-40B4-BE49-F238E27FC236}">
                  <a16:creationId xmlns:a16="http://schemas.microsoft.com/office/drawing/2014/main" id="{B415E1B5-F542-453C-8A29-6919D00AF6F2}"/>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266" name="Freeform: Shape 265">
              <a:extLst>
                <a:ext uri="{FF2B5EF4-FFF2-40B4-BE49-F238E27FC236}">
                  <a16:creationId xmlns:a16="http://schemas.microsoft.com/office/drawing/2014/main" id="{673ACDB0-AAB9-41CB-B964-16FFF4E29A9D}"/>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267" name="Freeform: Shape 266">
              <a:extLst>
                <a:ext uri="{FF2B5EF4-FFF2-40B4-BE49-F238E27FC236}">
                  <a16:creationId xmlns:a16="http://schemas.microsoft.com/office/drawing/2014/main" id="{3531726C-93CF-49C1-86EF-AF8533C3D726}"/>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a:p>
          </p:txBody>
        </p:sp>
        <p:sp>
          <p:nvSpPr>
            <p:cNvPr id="268" name="Freeform: Shape 267">
              <a:extLst>
                <a:ext uri="{FF2B5EF4-FFF2-40B4-BE49-F238E27FC236}">
                  <a16:creationId xmlns:a16="http://schemas.microsoft.com/office/drawing/2014/main" id="{28D6CE67-7BDB-42A3-A5F3-8F39576B70A7}"/>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269" name="Freeform: Shape 268">
              <a:extLst>
                <a:ext uri="{FF2B5EF4-FFF2-40B4-BE49-F238E27FC236}">
                  <a16:creationId xmlns:a16="http://schemas.microsoft.com/office/drawing/2014/main" id="{BE794CC7-9095-4F94-A378-2023C7051F9E}"/>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grpSp>
      <p:grpSp>
        <p:nvGrpSpPr>
          <p:cNvPr id="313" name="Group 312">
            <a:extLst>
              <a:ext uri="{FF2B5EF4-FFF2-40B4-BE49-F238E27FC236}">
                <a16:creationId xmlns:a16="http://schemas.microsoft.com/office/drawing/2014/main" id="{9C2D7047-FC21-4AE3-942A-CC291C5FF6AF}"/>
              </a:ext>
            </a:extLst>
          </p:cNvPr>
          <p:cNvGrpSpPr/>
          <p:nvPr/>
        </p:nvGrpSpPr>
        <p:grpSpPr>
          <a:xfrm>
            <a:off x="1344021" y="3110916"/>
            <a:ext cx="245898" cy="245896"/>
            <a:chOff x="11400185" y="3429001"/>
            <a:chExt cx="245898" cy="245896"/>
          </a:xfrm>
        </p:grpSpPr>
        <p:sp>
          <p:nvSpPr>
            <p:cNvPr id="314" name="Oval 313">
              <a:extLst>
                <a:ext uri="{FF2B5EF4-FFF2-40B4-BE49-F238E27FC236}">
                  <a16:creationId xmlns:a16="http://schemas.microsoft.com/office/drawing/2014/main" id="{CBEB3C82-F4B4-4318-B2BF-F027596F35FE}"/>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15" name="Freeform: Shape 314">
              <a:extLst>
                <a:ext uri="{FF2B5EF4-FFF2-40B4-BE49-F238E27FC236}">
                  <a16:creationId xmlns:a16="http://schemas.microsoft.com/office/drawing/2014/main" id="{5481D43C-3BFD-4615-968C-3017D05608E2}"/>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316" name="Group 315">
            <a:extLst>
              <a:ext uri="{FF2B5EF4-FFF2-40B4-BE49-F238E27FC236}">
                <a16:creationId xmlns:a16="http://schemas.microsoft.com/office/drawing/2014/main" id="{899357F5-7A6B-4A3E-8DD9-8255C8693C5B}"/>
              </a:ext>
            </a:extLst>
          </p:cNvPr>
          <p:cNvGrpSpPr/>
          <p:nvPr/>
        </p:nvGrpSpPr>
        <p:grpSpPr>
          <a:xfrm>
            <a:off x="1344021" y="4816865"/>
            <a:ext cx="245898" cy="245896"/>
            <a:chOff x="11400185" y="3429001"/>
            <a:chExt cx="245898" cy="245896"/>
          </a:xfrm>
        </p:grpSpPr>
        <p:sp>
          <p:nvSpPr>
            <p:cNvPr id="317" name="Oval 316">
              <a:extLst>
                <a:ext uri="{FF2B5EF4-FFF2-40B4-BE49-F238E27FC236}">
                  <a16:creationId xmlns:a16="http://schemas.microsoft.com/office/drawing/2014/main" id="{C7C1A626-66BE-42D3-95F9-CE61960350D3}"/>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18" name="Freeform: Shape 317">
              <a:extLst>
                <a:ext uri="{FF2B5EF4-FFF2-40B4-BE49-F238E27FC236}">
                  <a16:creationId xmlns:a16="http://schemas.microsoft.com/office/drawing/2014/main" id="{CD9F6F23-40D4-4CB8-98B0-14A8ECF3CB3C}"/>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322" name="Group 321">
            <a:extLst>
              <a:ext uri="{FF2B5EF4-FFF2-40B4-BE49-F238E27FC236}">
                <a16:creationId xmlns:a16="http://schemas.microsoft.com/office/drawing/2014/main" id="{19CEE094-34B9-4C18-91EF-BF6F190D2267}"/>
              </a:ext>
            </a:extLst>
          </p:cNvPr>
          <p:cNvGrpSpPr/>
          <p:nvPr/>
        </p:nvGrpSpPr>
        <p:grpSpPr>
          <a:xfrm>
            <a:off x="1344021" y="4248216"/>
            <a:ext cx="245898" cy="245896"/>
            <a:chOff x="11400185" y="4210745"/>
            <a:chExt cx="245898" cy="245896"/>
          </a:xfrm>
        </p:grpSpPr>
        <p:sp>
          <p:nvSpPr>
            <p:cNvPr id="323" name="Oval 322">
              <a:extLst>
                <a:ext uri="{FF2B5EF4-FFF2-40B4-BE49-F238E27FC236}">
                  <a16:creationId xmlns:a16="http://schemas.microsoft.com/office/drawing/2014/main" id="{9475EF1D-02B9-47F1-AA53-1A68132AA2DF}"/>
                </a:ext>
              </a:extLst>
            </p:cNvPr>
            <p:cNvSpPr/>
            <p:nvPr/>
          </p:nvSpPr>
          <p:spPr>
            <a:xfrm>
              <a:off x="11400185" y="4210745"/>
              <a:ext cx="245898" cy="245896"/>
            </a:xfrm>
            <a:prstGeom prst="ellipse">
              <a:avLst/>
            </a:prstGeom>
            <a:solidFill>
              <a:sysClr val="window" lastClr="FFFFFF"/>
            </a:solidFill>
            <a:ln w="12700" cap="flat" cmpd="sng" algn="ctr">
              <a:solidFill>
                <a:srgbClr val="C000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24" name="Freeform: Shape 323">
              <a:extLst>
                <a:ext uri="{FF2B5EF4-FFF2-40B4-BE49-F238E27FC236}">
                  <a16:creationId xmlns:a16="http://schemas.microsoft.com/office/drawing/2014/main" id="{5F2D7F9F-EA72-40CA-8ECE-F645EEA998BB}"/>
                </a:ext>
              </a:extLst>
            </p:cNvPr>
            <p:cNvSpPr/>
            <p:nvPr/>
          </p:nvSpPr>
          <p:spPr>
            <a:xfrm>
              <a:off x="11468978" y="4279900"/>
              <a:ext cx="108312" cy="107586"/>
            </a:xfrm>
            <a:custGeom>
              <a:avLst/>
              <a:gdLst>
                <a:gd name="connsiteX0" fmla="*/ 13311 w 145302"/>
                <a:gd name="connsiteY0" fmla="*/ 470 h 144328"/>
                <a:gd name="connsiteX1" fmla="*/ 33182 w 145302"/>
                <a:gd name="connsiteY1" fmla="*/ 9883 h 144328"/>
                <a:gd name="connsiteX2" fmla="*/ 73065 w 145302"/>
                <a:gd name="connsiteY2" fmla="*/ 52234 h 144328"/>
                <a:gd name="connsiteX3" fmla="*/ 111484 w 145302"/>
                <a:gd name="connsiteY3" fmla="*/ 10620 h 144328"/>
                <a:gd name="connsiteX4" fmla="*/ 140172 w 145302"/>
                <a:gd name="connsiteY4" fmla="*/ 5557 h 144328"/>
                <a:gd name="connsiteX5" fmla="*/ 134901 w 145302"/>
                <a:gd name="connsiteY5" fmla="*/ 32709 h 144328"/>
                <a:gd name="connsiteX6" fmla="*/ 93535 w 145302"/>
                <a:gd name="connsiteY6" fmla="*/ 73483 h 144328"/>
                <a:gd name="connsiteX7" fmla="*/ 135430 w 145302"/>
                <a:gd name="connsiteY7" fmla="*/ 112202 h 144328"/>
                <a:gd name="connsiteX8" fmla="*/ 139570 w 145302"/>
                <a:gd name="connsiteY8" fmla="*/ 139312 h 144328"/>
                <a:gd name="connsiteX9" fmla="*/ 112107 w 145302"/>
                <a:gd name="connsiteY9" fmla="*/ 134436 h 144328"/>
                <a:gd name="connsiteX10" fmla="*/ 70917 w 145302"/>
                <a:gd name="connsiteY10" fmla="*/ 91027 h 144328"/>
                <a:gd name="connsiteX11" fmla="*/ 32518 w 145302"/>
                <a:gd name="connsiteY11" fmla="*/ 135059 h 144328"/>
                <a:gd name="connsiteX12" fmla="*/ 5076 w 145302"/>
                <a:gd name="connsiteY12" fmla="*/ 138700 h 144328"/>
                <a:gd name="connsiteX13" fmla="*/ 9257 w 145302"/>
                <a:gd name="connsiteY13" fmla="*/ 112856 h 144328"/>
                <a:gd name="connsiteX14" fmla="*/ 52750 w 145302"/>
                <a:gd name="connsiteY14" fmla="*/ 70858 h 144328"/>
                <a:gd name="connsiteX15" fmla="*/ 9900 w 145302"/>
                <a:gd name="connsiteY15" fmla="*/ 32076 h 144328"/>
                <a:gd name="connsiteX16" fmla="*/ 5719 w 145302"/>
                <a:gd name="connsiteY16" fmla="*/ 4997 h 144328"/>
                <a:gd name="connsiteX17" fmla="*/ 13311 w 145302"/>
                <a:gd name="connsiteY17" fmla="*/ 470 h 144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5302" h="144328">
                  <a:moveTo>
                    <a:pt x="13311" y="470"/>
                  </a:moveTo>
                  <a:cubicBezTo>
                    <a:pt x="20641" y="-1504"/>
                    <a:pt x="27206" y="3542"/>
                    <a:pt x="33182" y="9883"/>
                  </a:cubicBezTo>
                  <a:cubicBezTo>
                    <a:pt x="45684" y="23163"/>
                    <a:pt x="58197" y="36433"/>
                    <a:pt x="73065" y="52234"/>
                  </a:cubicBezTo>
                  <a:cubicBezTo>
                    <a:pt x="87424" y="36672"/>
                    <a:pt x="99407" y="23599"/>
                    <a:pt x="111484" y="10620"/>
                  </a:cubicBezTo>
                  <a:cubicBezTo>
                    <a:pt x="119763" y="1718"/>
                    <a:pt x="129174" y="-5378"/>
                    <a:pt x="140172" y="5557"/>
                  </a:cubicBezTo>
                  <a:cubicBezTo>
                    <a:pt x="150858" y="16192"/>
                    <a:pt x="142744" y="24886"/>
                    <a:pt x="134901" y="32709"/>
                  </a:cubicBezTo>
                  <a:cubicBezTo>
                    <a:pt x="122326" y="45252"/>
                    <a:pt x="109616" y="57650"/>
                    <a:pt x="93535" y="73483"/>
                  </a:cubicBezTo>
                  <a:cubicBezTo>
                    <a:pt x="107977" y="86815"/>
                    <a:pt x="121786" y="99420"/>
                    <a:pt x="135430" y="112202"/>
                  </a:cubicBezTo>
                  <a:cubicBezTo>
                    <a:pt x="143855" y="120087"/>
                    <a:pt x="150412" y="129134"/>
                    <a:pt x="139570" y="139312"/>
                  </a:cubicBezTo>
                  <a:cubicBezTo>
                    <a:pt x="129101" y="149148"/>
                    <a:pt x="120075" y="142809"/>
                    <a:pt x="112107" y="134436"/>
                  </a:cubicBezTo>
                  <a:cubicBezTo>
                    <a:pt x="99874" y="121581"/>
                    <a:pt x="87673" y="108696"/>
                    <a:pt x="70917" y="91027"/>
                  </a:cubicBezTo>
                  <a:cubicBezTo>
                    <a:pt x="57097" y="106911"/>
                    <a:pt x="45010" y="121156"/>
                    <a:pt x="32518" y="135059"/>
                  </a:cubicBezTo>
                  <a:cubicBezTo>
                    <a:pt x="24612" y="143857"/>
                    <a:pt x="15160" y="148826"/>
                    <a:pt x="5076" y="138700"/>
                  </a:cubicBezTo>
                  <a:cubicBezTo>
                    <a:pt x="-4718" y="128865"/>
                    <a:pt x="1496" y="120409"/>
                    <a:pt x="9257" y="112856"/>
                  </a:cubicBezTo>
                  <a:cubicBezTo>
                    <a:pt x="22423" y="100053"/>
                    <a:pt x="35662" y="87344"/>
                    <a:pt x="52750" y="70858"/>
                  </a:cubicBezTo>
                  <a:cubicBezTo>
                    <a:pt x="37643" y="57225"/>
                    <a:pt x="23606" y="44827"/>
                    <a:pt x="9900" y="32076"/>
                  </a:cubicBezTo>
                  <a:cubicBezTo>
                    <a:pt x="1559" y="24315"/>
                    <a:pt x="-5299" y="15237"/>
                    <a:pt x="5719" y="4997"/>
                  </a:cubicBezTo>
                  <a:cubicBezTo>
                    <a:pt x="8339" y="2566"/>
                    <a:pt x="10867" y="1128"/>
                    <a:pt x="13311" y="47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325" name="Group 324">
            <a:extLst>
              <a:ext uri="{FF2B5EF4-FFF2-40B4-BE49-F238E27FC236}">
                <a16:creationId xmlns:a16="http://schemas.microsoft.com/office/drawing/2014/main" id="{0B66ED89-0192-4893-A03D-32E5C372F12F}"/>
              </a:ext>
            </a:extLst>
          </p:cNvPr>
          <p:cNvGrpSpPr/>
          <p:nvPr/>
        </p:nvGrpSpPr>
        <p:grpSpPr>
          <a:xfrm>
            <a:off x="1344021" y="5385514"/>
            <a:ext cx="245898" cy="245896"/>
            <a:chOff x="11400185" y="3429001"/>
            <a:chExt cx="245898" cy="245896"/>
          </a:xfrm>
        </p:grpSpPr>
        <p:sp>
          <p:nvSpPr>
            <p:cNvPr id="326" name="Oval 325">
              <a:extLst>
                <a:ext uri="{FF2B5EF4-FFF2-40B4-BE49-F238E27FC236}">
                  <a16:creationId xmlns:a16="http://schemas.microsoft.com/office/drawing/2014/main" id="{AB0A85CA-1EE5-4DFB-8A1F-31BD1DDE61A3}"/>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27" name="Freeform: Shape 326">
              <a:extLst>
                <a:ext uri="{FF2B5EF4-FFF2-40B4-BE49-F238E27FC236}">
                  <a16:creationId xmlns:a16="http://schemas.microsoft.com/office/drawing/2014/main" id="{A30FE6E8-C1E8-4789-8DB1-545C08437BC5}"/>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339" name="Group 338">
            <a:extLst>
              <a:ext uri="{FF2B5EF4-FFF2-40B4-BE49-F238E27FC236}">
                <a16:creationId xmlns:a16="http://schemas.microsoft.com/office/drawing/2014/main" id="{7DF013E0-B332-44B0-81D8-BFC24A87D7A9}"/>
              </a:ext>
            </a:extLst>
          </p:cNvPr>
          <p:cNvGrpSpPr/>
          <p:nvPr/>
        </p:nvGrpSpPr>
        <p:grpSpPr>
          <a:xfrm>
            <a:off x="1344021" y="5954164"/>
            <a:ext cx="245898" cy="245896"/>
            <a:chOff x="11400185" y="3429001"/>
            <a:chExt cx="245898" cy="245896"/>
          </a:xfrm>
        </p:grpSpPr>
        <p:sp>
          <p:nvSpPr>
            <p:cNvPr id="340" name="Oval 339">
              <a:extLst>
                <a:ext uri="{FF2B5EF4-FFF2-40B4-BE49-F238E27FC236}">
                  <a16:creationId xmlns:a16="http://schemas.microsoft.com/office/drawing/2014/main" id="{4A7CA88D-3016-4AF3-B9CA-B21998A5B793}"/>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341" name="Freeform: Shape 340">
              <a:extLst>
                <a:ext uri="{FF2B5EF4-FFF2-40B4-BE49-F238E27FC236}">
                  <a16:creationId xmlns:a16="http://schemas.microsoft.com/office/drawing/2014/main" id="{FE485BB4-EAA4-4CD8-930A-A613AE48598D}"/>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270" name="Group 269">
            <a:extLst>
              <a:ext uri="{FF2B5EF4-FFF2-40B4-BE49-F238E27FC236}">
                <a16:creationId xmlns:a16="http://schemas.microsoft.com/office/drawing/2014/main" id="{69DED295-C76E-4C6C-8015-9D9BB267DA1D}"/>
              </a:ext>
            </a:extLst>
          </p:cNvPr>
          <p:cNvGrpSpPr/>
          <p:nvPr/>
        </p:nvGrpSpPr>
        <p:grpSpPr>
          <a:xfrm>
            <a:off x="1344021" y="2542267"/>
            <a:ext cx="245898" cy="245896"/>
            <a:chOff x="11400185" y="3429001"/>
            <a:chExt cx="245898" cy="245896"/>
          </a:xfrm>
        </p:grpSpPr>
        <p:sp>
          <p:nvSpPr>
            <p:cNvPr id="271" name="Oval 270">
              <a:extLst>
                <a:ext uri="{FF2B5EF4-FFF2-40B4-BE49-F238E27FC236}">
                  <a16:creationId xmlns:a16="http://schemas.microsoft.com/office/drawing/2014/main" id="{6EA8373B-3DEC-426C-B2A5-DAAB81284742}"/>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272" name="Freeform: Shape 271">
              <a:extLst>
                <a:ext uri="{FF2B5EF4-FFF2-40B4-BE49-F238E27FC236}">
                  <a16:creationId xmlns:a16="http://schemas.microsoft.com/office/drawing/2014/main" id="{7AABFA17-90A2-42A0-930C-607C4CC0E9D8}"/>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grpSp>
        <p:nvGrpSpPr>
          <p:cNvPr id="273" name="Group 272">
            <a:extLst>
              <a:ext uri="{FF2B5EF4-FFF2-40B4-BE49-F238E27FC236}">
                <a16:creationId xmlns:a16="http://schemas.microsoft.com/office/drawing/2014/main" id="{C7CBFC0A-4AB1-4923-92E6-EC01E9E7014A}"/>
              </a:ext>
            </a:extLst>
          </p:cNvPr>
          <p:cNvGrpSpPr/>
          <p:nvPr/>
        </p:nvGrpSpPr>
        <p:grpSpPr>
          <a:xfrm>
            <a:off x="1344021" y="3679566"/>
            <a:ext cx="245898" cy="245896"/>
            <a:chOff x="11400185" y="3429001"/>
            <a:chExt cx="245898" cy="245896"/>
          </a:xfrm>
        </p:grpSpPr>
        <p:sp>
          <p:nvSpPr>
            <p:cNvPr id="274" name="Oval 273">
              <a:extLst>
                <a:ext uri="{FF2B5EF4-FFF2-40B4-BE49-F238E27FC236}">
                  <a16:creationId xmlns:a16="http://schemas.microsoft.com/office/drawing/2014/main" id="{DA2F32C8-4379-4FDB-AB7E-7F28E6681698}"/>
                </a:ext>
              </a:extLst>
            </p:cNvPr>
            <p:cNvSpPr/>
            <p:nvPr/>
          </p:nvSpPr>
          <p:spPr>
            <a:xfrm>
              <a:off x="11400185" y="3429001"/>
              <a:ext cx="245898" cy="245896"/>
            </a:xfrm>
            <a:prstGeom prst="ellipse">
              <a:avLst/>
            </a:prstGeom>
            <a:solidFill>
              <a:sysClr val="window" lastClr="FFFFFF"/>
            </a:solidFill>
            <a:ln w="12700" cap="flat" cmpd="sng" algn="ctr">
              <a:solidFill>
                <a:srgbClr val="7DBB00"/>
              </a:solid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sp>
          <p:nvSpPr>
            <p:cNvPr id="275" name="Freeform: Shape 274">
              <a:extLst>
                <a:ext uri="{FF2B5EF4-FFF2-40B4-BE49-F238E27FC236}">
                  <a16:creationId xmlns:a16="http://schemas.microsoft.com/office/drawing/2014/main" id="{26443C88-A9CF-4267-94FB-C92496615B3C}"/>
                </a:ext>
              </a:extLst>
            </p:cNvPr>
            <p:cNvSpPr/>
            <p:nvPr/>
          </p:nvSpPr>
          <p:spPr>
            <a:xfrm>
              <a:off x="11453420" y="3502789"/>
              <a:ext cx="139428" cy="98320"/>
            </a:xfrm>
            <a:custGeom>
              <a:avLst/>
              <a:gdLst>
                <a:gd name="connsiteX0" fmla="*/ 122709 w 139428"/>
                <a:gd name="connsiteY0" fmla="*/ 2697 h 98320"/>
                <a:gd name="connsiteX1" fmla="*/ 136431 w 139428"/>
                <a:gd name="connsiteY1" fmla="*/ 3007 h 98320"/>
                <a:gd name="connsiteX2" fmla="*/ 136663 w 139428"/>
                <a:gd name="connsiteY2" fmla="*/ 16728 h 98320"/>
                <a:gd name="connsiteX3" fmla="*/ 115345 w 139428"/>
                <a:gd name="connsiteY3" fmla="*/ 37969 h 98320"/>
                <a:gd name="connsiteX4" fmla="*/ 102477 w 139428"/>
                <a:gd name="connsiteY4" fmla="*/ 51070 h 98320"/>
                <a:gd name="connsiteX5" fmla="*/ 60381 w 139428"/>
                <a:gd name="connsiteY5" fmla="*/ 94015 h 98320"/>
                <a:gd name="connsiteX6" fmla="*/ 44877 w 139428"/>
                <a:gd name="connsiteY6" fmla="*/ 95411 h 98320"/>
                <a:gd name="connsiteX7" fmla="*/ 4644 w 139428"/>
                <a:gd name="connsiteY7" fmla="*/ 66264 h 98320"/>
                <a:gd name="connsiteX8" fmla="*/ 3171 w 139428"/>
                <a:gd name="connsiteY8" fmla="*/ 50682 h 98320"/>
                <a:gd name="connsiteX9" fmla="*/ 16581 w 139428"/>
                <a:gd name="connsiteY9" fmla="*/ 50294 h 98320"/>
                <a:gd name="connsiteX10" fmla="*/ 48134 w 139428"/>
                <a:gd name="connsiteY10" fmla="*/ 73163 h 98320"/>
                <a:gd name="connsiteX11" fmla="*/ 51312 w 139428"/>
                <a:gd name="connsiteY11" fmla="*/ 75333 h 98320"/>
                <a:gd name="connsiteX12" fmla="*/ 53250 w 139428"/>
                <a:gd name="connsiteY12" fmla="*/ 72853 h 98320"/>
                <a:gd name="connsiteX13" fmla="*/ 113794 w 139428"/>
                <a:gd name="connsiteY13" fmla="*/ 11224 h 98320"/>
                <a:gd name="connsiteX14" fmla="*/ 122709 w 139428"/>
                <a:gd name="connsiteY14" fmla="*/ 2697 h 9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28" h="98320">
                  <a:moveTo>
                    <a:pt x="122709" y="2697"/>
                  </a:moveTo>
                  <a:cubicBezTo>
                    <a:pt x="126741" y="-1023"/>
                    <a:pt x="132710" y="-869"/>
                    <a:pt x="136431" y="3007"/>
                  </a:cubicBezTo>
                  <a:cubicBezTo>
                    <a:pt x="140229" y="6806"/>
                    <a:pt x="140539" y="12775"/>
                    <a:pt x="136663" y="16728"/>
                  </a:cubicBezTo>
                  <a:cubicBezTo>
                    <a:pt x="129686" y="23937"/>
                    <a:pt x="122399" y="30914"/>
                    <a:pt x="115345" y="37969"/>
                  </a:cubicBezTo>
                  <a:cubicBezTo>
                    <a:pt x="111004" y="42310"/>
                    <a:pt x="106741" y="46650"/>
                    <a:pt x="102477" y="51070"/>
                  </a:cubicBezTo>
                  <a:cubicBezTo>
                    <a:pt x="88445" y="65411"/>
                    <a:pt x="74413" y="79675"/>
                    <a:pt x="60381" y="94015"/>
                  </a:cubicBezTo>
                  <a:cubicBezTo>
                    <a:pt x="55265" y="99287"/>
                    <a:pt x="50769" y="99675"/>
                    <a:pt x="44877" y="95411"/>
                  </a:cubicBezTo>
                  <a:cubicBezTo>
                    <a:pt x="31465" y="85721"/>
                    <a:pt x="18055" y="76032"/>
                    <a:pt x="4644" y="66264"/>
                  </a:cubicBezTo>
                  <a:cubicBezTo>
                    <a:pt x="-938" y="62232"/>
                    <a:pt x="-1559" y="55178"/>
                    <a:pt x="3171" y="50682"/>
                  </a:cubicBezTo>
                  <a:cubicBezTo>
                    <a:pt x="6815" y="47194"/>
                    <a:pt x="12009" y="47038"/>
                    <a:pt x="16581" y="50294"/>
                  </a:cubicBezTo>
                  <a:cubicBezTo>
                    <a:pt x="27125" y="57891"/>
                    <a:pt x="37590" y="65488"/>
                    <a:pt x="48134" y="73163"/>
                  </a:cubicBezTo>
                  <a:cubicBezTo>
                    <a:pt x="48986" y="73705"/>
                    <a:pt x="49917" y="74325"/>
                    <a:pt x="51312" y="75333"/>
                  </a:cubicBezTo>
                  <a:cubicBezTo>
                    <a:pt x="51932" y="74481"/>
                    <a:pt x="52474" y="73551"/>
                    <a:pt x="53250" y="72853"/>
                  </a:cubicBezTo>
                  <a:cubicBezTo>
                    <a:pt x="73405" y="52310"/>
                    <a:pt x="93561" y="31766"/>
                    <a:pt x="113794" y="11224"/>
                  </a:cubicBezTo>
                  <a:cubicBezTo>
                    <a:pt x="116663" y="8279"/>
                    <a:pt x="119686" y="5488"/>
                    <a:pt x="122709" y="2697"/>
                  </a:cubicBezTo>
                  <a:close/>
                </a:path>
              </a:pathLst>
            </a:custGeom>
            <a:solidFill>
              <a:srgbClr val="7DBB00"/>
            </a:solidFill>
            <a:ln w="12700" cap="flat" cmpd="sng" algn="ctr">
              <a:noFill/>
              <a:prstDash val="solid"/>
              <a:miter lim="800000"/>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entury Gothic"/>
                <a:ea typeface="+mn-ea"/>
                <a:cs typeface="+mn-cs"/>
              </a:endParaRPr>
            </a:p>
          </p:txBody>
        </p:sp>
      </p:grpSp>
      <p:pic>
        <p:nvPicPr>
          <p:cNvPr id="129" name="Picture 2" descr="AURIN. Australian Urban Research Infrastructure Network">
            <a:extLst>
              <a:ext uri="{FF2B5EF4-FFF2-40B4-BE49-F238E27FC236}">
                <a16:creationId xmlns:a16="http://schemas.microsoft.com/office/drawing/2014/main" id="{8B791BF2-96F0-40A0-A171-AA9A32C59DEB}"/>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131" name="Rectangle: Rounded Corners 130">
            <a:extLst>
              <a:ext uri="{FF2B5EF4-FFF2-40B4-BE49-F238E27FC236}">
                <a16:creationId xmlns:a16="http://schemas.microsoft.com/office/drawing/2014/main" id="{03856117-24FB-4444-B297-2E0ADEB2C25E}"/>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4- تجربة المستخدم</a:t>
            </a:r>
          </a:p>
        </p:txBody>
      </p:sp>
      <p:pic>
        <p:nvPicPr>
          <p:cNvPr id="130" name="Picture 129">
            <a:extLst>
              <a:ext uri="{FF2B5EF4-FFF2-40B4-BE49-F238E27FC236}">
                <a16:creationId xmlns:a16="http://schemas.microsoft.com/office/drawing/2014/main" id="{ADC42365-1EA1-4CDD-8651-1EE7382C180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3108658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3135426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9"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36" name="Footer Placeholder 29">
            <a:extLst>
              <a:ext uri="{FF2B5EF4-FFF2-40B4-BE49-F238E27FC236}">
                <a16:creationId xmlns:a16="http://schemas.microsoft.com/office/drawing/2014/main" id="{CA23848C-4263-4C0E-9CF8-E53B7D8867B9}"/>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4" name="Slide Number Placeholder 4">
            <a:extLst>
              <a:ext uri="{FF2B5EF4-FFF2-40B4-BE49-F238E27FC236}">
                <a16:creationId xmlns:a16="http://schemas.microsoft.com/office/drawing/2014/main" id="{8FA94959-9B3F-43CA-B1BA-2C5943D35418}"/>
              </a:ext>
            </a:extLst>
          </p:cNvPr>
          <p:cNvSpPr>
            <a:spLocks noGrp="1"/>
          </p:cNvSpPr>
          <p:nvPr>
            <p:ph type="sldNum" sz="quarter" idx="12"/>
          </p:nvPr>
        </p:nvSpPr>
        <p:spPr/>
        <p:txBody>
          <a:bodyPr/>
          <a:lstStyle/>
          <a:p>
            <a:pPr lvl="0"/>
            <a:fld id="{9FDB499F-DC86-4996-A3C7-FCE8E06389C2}" type="slidenum">
              <a:rPr lang="ar-SA" noProof="0" smtClean="0"/>
              <a:pPr lvl="0"/>
              <a:t>17</a:t>
            </a:fld>
            <a:endParaRPr lang="ar-SA" noProof="0"/>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1/ 4)</a:t>
            </a:r>
          </a:p>
        </p:txBody>
      </p:sp>
      <p:sp>
        <p:nvSpPr>
          <p:cNvPr id="21" name="TextBox 20">
            <a:extLst>
              <a:ext uri="{FF2B5EF4-FFF2-40B4-BE49-F238E27FC236}">
                <a16:creationId xmlns:a16="http://schemas.microsoft.com/office/drawing/2014/main" id="{CB433B2D-04BA-4DE6-A0A6-18ED9916921B}"/>
              </a:ext>
            </a:extLst>
          </p:cNvPr>
          <p:cNvSpPr txBox="1"/>
          <p:nvPr/>
        </p:nvSpPr>
        <p:spPr>
          <a:xfrm flipH="1">
            <a:off x="1073027" y="5509206"/>
            <a:ext cx="3977918" cy="646331"/>
          </a:xfrm>
          <a:prstGeom prst="rect">
            <a:avLst/>
          </a:prstGeom>
          <a:noFill/>
        </p:spPr>
        <p:txBody>
          <a:bodyPr wrap="square" rtlCol="0">
            <a:spAutoFit/>
          </a:bodyPr>
          <a:lstStyle/>
          <a:p>
            <a:pPr algn="r" rtl="1"/>
            <a:r>
              <a:rPr lang="ar-SA" sz="1200"/>
              <a:t>تعمل البوابة على جمع البيانات من المصادر الموثوقة في القطاعين الحكومي والخاص والتي تخضع </a:t>
            </a:r>
            <a:r>
              <a:rPr lang="ar-EG" sz="1200"/>
              <a:t>للتدقيق</a:t>
            </a:r>
            <a:r>
              <a:rPr lang="ar-SA" sz="1200"/>
              <a:t> الدوري من جانب الجهات المعنية</a:t>
            </a:r>
          </a:p>
        </p:txBody>
      </p:sp>
      <p:sp>
        <p:nvSpPr>
          <p:cNvPr id="27" name="TextBox 26">
            <a:extLst>
              <a:ext uri="{FF2B5EF4-FFF2-40B4-BE49-F238E27FC236}">
                <a16:creationId xmlns:a16="http://schemas.microsoft.com/office/drawing/2014/main" id="{27F41082-93A5-4162-B321-05085E96873B}"/>
              </a:ext>
            </a:extLst>
          </p:cNvPr>
          <p:cNvSpPr txBox="1"/>
          <p:nvPr/>
        </p:nvSpPr>
        <p:spPr>
          <a:xfrm flipH="1">
            <a:off x="6750454" y="5509206"/>
            <a:ext cx="4368519" cy="646331"/>
          </a:xfrm>
          <a:prstGeom prst="rect">
            <a:avLst/>
          </a:prstGeom>
          <a:noFill/>
        </p:spPr>
        <p:txBody>
          <a:bodyPr wrap="square" rtlCol="0">
            <a:spAutoFit/>
          </a:bodyPr>
          <a:lstStyle/>
          <a:p>
            <a:pPr algn="r" rtl="1"/>
            <a:r>
              <a:rPr lang="ar-SA" sz="1200"/>
              <a:t>تعرض هذه الصورة مجموعة بيانات مدمجة تحتوي على عدد من المتغيرات مثل المؤشرات الصحية والتعليمية والتوظيفية والاقتصادية لمدينة سيدني</a:t>
            </a:r>
          </a:p>
        </p:txBody>
      </p:sp>
      <p:pic>
        <p:nvPicPr>
          <p:cNvPr id="1030" name="Picture 6">
            <a:extLst>
              <a:ext uri="{FF2B5EF4-FFF2-40B4-BE49-F238E27FC236}">
                <a16:creationId xmlns:a16="http://schemas.microsoft.com/office/drawing/2014/main" id="{C208C49B-2707-4524-A8DC-FDCD737F6E77}"/>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728368" y="2783231"/>
            <a:ext cx="4236373" cy="2647733"/>
          </a:xfrm>
          <a:prstGeom prst="rect">
            <a:avLst/>
          </a:prstGeom>
          <a:effectLst>
            <a:outerShdw blurRad="127000" sx="96000" sy="96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242D984E-0E07-49A9-AF3C-597459D502A7}"/>
              </a:ext>
            </a:extLst>
          </p:cNvPr>
          <p:cNvSpPr/>
          <p:nvPr/>
        </p:nvSpPr>
        <p:spPr>
          <a:xfrm flipH="1">
            <a:off x="7626233" y="2093202"/>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شمولية البيانات</a:t>
            </a:r>
          </a:p>
        </p:txBody>
      </p:sp>
      <p:pic>
        <p:nvPicPr>
          <p:cNvPr id="43" name="Graphic 42">
            <a:extLst>
              <a:ext uri="{FF2B5EF4-FFF2-40B4-BE49-F238E27FC236}">
                <a16:creationId xmlns:a16="http://schemas.microsoft.com/office/drawing/2014/main" id="{DFD87578-7B7C-45A0-B73E-00D56C62ECB3}"/>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b="13196"/>
          <a:stretch>
            <a:fillRect/>
          </a:stretch>
        </p:blipFill>
        <p:spPr>
          <a:xfrm>
            <a:off x="7767244" y="2183922"/>
            <a:ext cx="309393" cy="335469"/>
          </a:xfrm>
          <a:custGeom>
            <a:avLst/>
            <a:gdLst>
              <a:gd name="connsiteX0" fmla="*/ 0 w 342786"/>
              <a:gd name="connsiteY0" fmla="*/ 0 h 371676"/>
              <a:gd name="connsiteX1" fmla="*/ 342786 w 342786"/>
              <a:gd name="connsiteY1" fmla="*/ 0 h 371676"/>
              <a:gd name="connsiteX2" fmla="*/ 342786 w 342786"/>
              <a:gd name="connsiteY2" fmla="*/ 371676 h 371676"/>
              <a:gd name="connsiteX3" fmla="*/ 140483 w 342786"/>
              <a:gd name="connsiteY3" fmla="*/ 371676 h 371676"/>
              <a:gd name="connsiteX4" fmla="*/ 140483 w 342786"/>
              <a:gd name="connsiteY4" fmla="*/ 340944 h 371676"/>
              <a:gd name="connsiteX5" fmla="*/ 12848 w 342786"/>
              <a:gd name="connsiteY5" fmla="*/ 340944 h 371676"/>
              <a:gd name="connsiteX6" fmla="*/ 12848 w 342786"/>
              <a:gd name="connsiteY6" fmla="*/ 304749 h 371676"/>
              <a:gd name="connsiteX7" fmla="*/ 0 w 342786"/>
              <a:gd name="connsiteY7" fmla="*/ 304749 h 37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786" h="371676">
                <a:moveTo>
                  <a:pt x="0" y="0"/>
                </a:moveTo>
                <a:lnTo>
                  <a:pt x="342786" y="0"/>
                </a:lnTo>
                <a:lnTo>
                  <a:pt x="342786" y="371676"/>
                </a:lnTo>
                <a:lnTo>
                  <a:pt x="140483" y="371676"/>
                </a:lnTo>
                <a:lnTo>
                  <a:pt x="140483" y="340944"/>
                </a:lnTo>
                <a:lnTo>
                  <a:pt x="12848" y="340944"/>
                </a:lnTo>
                <a:lnTo>
                  <a:pt x="12848" y="304749"/>
                </a:lnTo>
                <a:lnTo>
                  <a:pt x="0" y="304749"/>
                </a:lnTo>
                <a:close/>
              </a:path>
            </a:pathLst>
          </a:custGeom>
        </p:spPr>
      </p:pic>
      <p:sp>
        <p:nvSpPr>
          <p:cNvPr id="44" name="TextBox 43">
            <a:extLst>
              <a:ext uri="{FF2B5EF4-FFF2-40B4-BE49-F238E27FC236}">
                <a16:creationId xmlns:a16="http://schemas.microsoft.com/office/drawing/2014/main" id="{D3B2E984-542F-4BC1-9D1E-5450A4079359}"/>
              </a:ext>
            </a:extLst>
          </p:cNvPr>
          <p:cNvSpPr txBox="1"/>
          <p:nvPr/>
        </p:nvSpPr>
        <p:spPr>
          <a:xfrm>
            <a:off x="9654794" y="220920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أ</a:t>
            </a:r>
          </a:p>
        </p:txBody>
      </p:sp>
      <p:cxnSp>
        <p:nvCxnSpPr>
          <p:cNvPr id="53" name="Straight Connector 52">
            <a:extLst>
              <a:ext uri="{FF2B5EF4-FFF2-40B4-BE49-F238E27FC236}">
                <a16:creationId xmlns:a16="http://schemas.microsoft.com/office/drawing/2014/main" id="{D350EDD7-92CB-453B-BEF5-7AD027EC5DDA}"/>
              </a:ext>
            </a:extLst>
          </p:cNvPr>
          <p:cNvCxnSpPr>
            <a:cxnSpLocks/>
          </p:cNvCxnSpPr>
          <p:nvPr/>
        </p:nvCxnSpPr>
        <p:spPr>
          <a:xfrm flipH="1">
            <a:off x="9614789" y="2257084"/>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329EB2C-7A6C-4744-8B8C-C16EF0B04EE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402579" y="2740039"/>
            <a:ext cx="1755973" cy="2684090"/>
          </a:xfrm>
          <a:prstGeom prst="rect">
            <a:avLst/>
          </a:prstGeom>
          <a:effectLst>
            <a:outerShdw blurRad="127000" sx="96000" sy="96000" algn="ctr" rotWithShape="0">
              <a:prstClr val="black">
                <a:alpha val="40000"/>
              </a:prstClr>
            </a:outerShdw>
          </a:effectLst>
        </p:spPr>
      </p:pic>
      <p:pic>
        <p:nvPicPr>
          <p:cNvPr id="11" name="Picture 10">
            <a:extLst>
              <a:ext uri="{FF2B5EF4-FFF2-40B4-BE49-F238E27FC236}">
                <a16:creationId xmlns:a16="http://schemas.microsoft.com/office/drawing/2014/main" id="{DDD2DAE2-DB07-43CE-8882-4281D4199DC9}"/>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252326" y="2746874"/>
            <a:ext cx="1710615" cy="2684090"/>
          </a:xfrm>
          <a:prstGeom prst="rect">
            <a:avLst/>
          </a:prstGeom>
          <a:effectLst>
            <a:outerShdw blurRad="127000" sx="96000" sy="96000" algn="ctr" rotWithShape="0">
              <a:prstClr val="black">
                <a:alpha val="40000"/>
              </a:prstClr>
            </a:outerShdw>
          </a:effectLst>
        </p:spPr>
      </p:pic>
      <p:sp>
        <p:nvSpPr>
          <p:cNvPr id="41" name="Rectangle 40">
            <a:extLst>
              <a:ext uri="{FF2B5EF4-FFF2-40B4-BE49-F238E27FC236}">
                <a16:creationId xmlns:a16="http://schemas.microsoft.com/office/drawing/2014/main" id="{B2ACC7FF-F759-4CFD-94FC-06E5560B8BAD}"/>
              </a:ext>
            </a:extLst>
          </p:cNvPr>
          <p:cNvSpPr/>
          <p:nvPr/>
        </p:nvSpPr>
        <p:spPr>
          <a:xfrm flipH="1">
            <a:off x="2111295" y="2093202"/>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مصداقية والتحديث</a:t>
            </a:r>
          </a:p>
        </p:txBody>
      </p:sp>
      <p:grpSp>
        <p:nvGrpSpPr>
          <p:cNvPr id="45" name="Graphic 210">
            <a:extLst>
              <a:ext uri="{FF2B5EF4-FFF2-40B4-BE49-F238E27FC236}">
                <a16:creationId xmlns:a16="http://schemas.microsoft.com/office/drawing/2014/main" id="{E52BFE93-E979-495C-A7FF-314785A11DD4}"/>
              </a:ext>
            </a:extLst>
          </p:cNvPr>
          <p:cNvGrpSpPr/>
          <p:nvPr/>
        </p:nvGrpSpPr>
        <p:grpSpPr>
          <a:xfrm>
            <a:off x="2215269" y="2209766"/>
            <a:ext cx="261547" cy="283777"/>
            <a:chOff x="-455920" y="3286075"/>
            <a:chExt cx="834542" cy="905472"/>
          </a:xfrm>
          <a:solidFill>
            <a:schemeClr val="bg1"/>
          </a:solidFill>
        </p:grpSpPr>
        <p:sp>
          <p:nvSpPr>
            <p:cNvPr id="46" name="Freeform: Shape 45">
              <a:extLst>
                <a:ext uri="{FF2B5EF4-FFF2-40B4-BE49-F238E27FC236}">
                  <a16:creationId xmlns:a16="http://schemas.microsoft.com/office/drawing/2014/main" id="{4D668ACE-D3BE-4E6C-9AF7-EE4765957624}"/>
                </a:ext>
              </a:extLst>
            </p:cNvPr>
            <p:cNvSpPr/>
            <p:nvPr/>
          </p:nvSpPr>
          <p:spPr>
            <a:xfrm>
              <a:off x="-257800" y="3557902"/>
              <a:ext cx="440054" cy="440061"/>
            </a:xfrm>
            <a:custGeom>
              <a:avLst/>
              <a:gdLst>
                <a:gd name="connsiteX0" fmla="*/ 440055 w 440054"/>
                <a:gd name="connsiteY0" fmla="*/ 220027 h 440061"/>
                <a:gd name="connsiteX1" fmla="*/ 220027 w 440054"/>
                <a:gd name="connsiteY1" fmla="*/ 0 h 440061"/>
                <a:gd name="connsiteX2" fmla="*/ 0 w 440054"/>
                <a:gd name="connsiteY2" fmla="*/ 220027 h 440061"/>
                <a:gd name="connsiteX3" fmla="*/ 220027 w 440054"/>
                <a:gd name="connsiteY3" fmla="*/ 440055 h 440061"/>
                <a:gd name="connsiteX4" fmla="*/ 440055 w 440054"/>
                <a:gd name="connsiteY4" fmla="*/ 220027 h 440061"/>
                <a:gd name="connsiteX5" fmla="*/ 319088 w 440054"/>
                <a:gd name="connsiteY5" fmla="*/ 199073 h 440061"/>
                <a:gd name="connsiteX6" fmla="*/ 227648 w 440054"/>
                <a:gd name="connsiteY6" fmla="*/ 290513 h 440061"/>
                <a:gd name="connsiteX7" fmla="*/ 203835 w 440054"/>
                <a:gd name="connsiteY7" fmla="*/ 300990 h 440061"/>
                <a:gd name="connsiteX8" fmla="*/ 180023 w 440054"/>
                <a:gd name="connsiteY8" fmla="*/ 290513 h 440061"/>
                <a:gd name="connsiteX9" fmla="*/ 122873 w 440054"/>
                <a:gd name="connsiteY9" fmla="*/ 233363 h 440061"/>
                <a:gd name="connsiteX10" fmla="*/ 122873 w 440054"/>
                <a:gd name="connsiteY10" fmla="*/ 184785 h 440061"/>
                <a:gd name="connsiteX11" fmla="*/ 171450 w 440054"/>
                <a:gd name="connsiteY11" fmla="*/ 184785 h 440061"/>
                <a:gd name="connsiteX12" fmla="*/ 204788 w 440054"/>
                <a:gd name="connsiteY12" fmla="*/ 218123 h 440061"/>
                <a:gd name="connsiteX13" fmla="*/ 272415 w 440054"/>
                <a:gd name="connsiteY13" fmla="*/ 150495 h 440061"/>
                <a:gd name="connsiteX14" fmla="*/ 320993 w 440054"/>
                <a:gd name="connsiteY14" fmla="*/ 150495 h 440061"/>
                <a:gd name="connsiteX15" fmla="*/ 319088 w 440054"/>
                <a:gd name="connsiteY15" fmla="*/ 199073 h 44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054" h="440061">
                  <a:moveTo>
                    <a:pt x="440055" y="220027"/>
                  </a:moveTo>
                  <a:cubicBezTo>
                    <a:pt x="440055" y="99060"/>
                    <a:pt x="341948" y="0"/>
                    <a:pt x="220027" y="0"/>
                  </a:cubicBezTo>
                  <a:cubicBezTo>
                    <a:pt x="98107" y="0"/>
                    <a:pt x="0" y="99060"/>
                    <a:pt x="0" y="220027"/>
                  </a:cubicBezTo>
                  <a:cubicBezTo>
                    <a:pt x="0" y="341948"/>
                    <a:pt x="99060" y="440055"/>
                    <a:pt x="220027" y="440055"/>
                  </a:cubicBezTo>
                  <a:cubicBezTo>
                    <a:pt x="341948" y="441008"/>
                    <a:pt x="440055" y="341948"/>
                    <a:pt x="440055" y="220027"/>
                  </a:cubicBezTo>
                  <a:close/>
                  <a:moveTo>
                    <a:pt x="319088" y="199073"/>
                  </a:moveTo>
                  <a:lnTo>
                    <a:pt x="227648" y="290513"/>
                  </a:lnTo>
                  <a:cubicBezTo>
                    <a:pt x="220980" y="297180"/>
                    <a:pt x="212408" y="300990"/>
                    <a:pt x="203835" y="300990"/>
                  </a:cubicBezTo>
                  <a:cubicBezTo>
                    <a:pt x="195263" y="300990"/>
                    <a:pt x="186690" y="297180"/>
                    <a:pt x="180023" y="290513"/>
                  </a:cubicBezTo>
                  <a:lnTo>
                    <a:pt x="122873" y="233363"/>
                  </a:lnTo>
                  <a:cubicBezTo>
                    <a:pt x="109538" y="220027"/>
                    <a:pt x="109538" y="198120"/>
                    <a:pt x="122873" y="184785"/>
                  </a:cubicBezTo>
                  <a:cubicBezTo>
                    <a:pt x="136208" y="171450"/>
                    <a:pt x="158115" y="171450"/>
                    <a:pt x="171450" y="184785"/>
                  </a:cubicBezTo>
                  <a:lnTo>
                    <a:pt x="204788" y="218123"/>
                  </a:lnTo>
                  <a:lnTo>
                    <a:pt x="272415" y="150495"/>
                  </a:lnTo>
                  <a:cubicBezTo>
                    <a:pt x="285750" y="137160"/>
                    <a:pt x="307658" y="137160"/>
                    <a:pt x="320993" y="150495"/>
                  </a:cubicBezTo>
                  <a:cubicBezTo>
                    <a:pt x="332423" y="163830"/>
                    <a:pt x="332423" y="185738"/>
                    <a:pt x="319088" y="199073"/>
                  </a:cubicBezTo>
                  <a:close/>
                </a:path>
              </a:pathLst>
            </a:custGeom>
            <a:grpFill/>
            <a:ln w="9525" cap="flat">
              <a:noFill/>
              <a:prstDash val="solid"/>
              <a:miter/>
            </a:ln>
          </p:spPr>
          <p:txBody>
            <a:bodyPr rtlCol="0" anchor="ctr"/>
            <a:lstStyle/>
            <a:p>
              <a:pPr algn="r" rtl="1"/>
              <a:endParaRPr lang="en-US"/>
            </a:p>
          </p:txBody>
        </p:sp>
        <p:sp>
          <p:nvSpPr>
            <p:cNvPr id="47" name="Freeform: Shape 46">
              <a:extLst>
                <a:ext uri="{FF2B5EF4-FFF2-40B4-BE49-F238E27FC236}">
                  <a16:creationId xmlns:a16="http://schemas.microsoft.com/office/drawing/2014/main" id="{BED68F0C-9CDD-4118-B9FD-65A2A623E968}"/>
                </a:ext>
              </a:extLst>
            </p:cNvPr>
            <p:cNvSpPr/>
            <p:nvPr/>
          </p:nvSpPr>
          <p:spPr>
            <a:xfrm>
              <a:off x="-455920" y="3286075"/>
              <a:ext cx="682942" cy="529001"/>
            </a:xfrm>
            <a:custGeom>
              <a:avLst/>
              <a:gdLst>
                <a:gd name="connsiteX0" fmla="*/ 75248 w 682942"/>
                <a:gd name="connsiteY0" fmla="*/ 491854 h 529001"/>
                <a:gd name="connsiteX1" fmla="*/ 418148 w 682942"/>
                <a:gd name="connsiteY1" fmla="*/ 148954 h 529001"/>
                <a:gd name="connsiteX2" fmla="*/ 497205 w 682942"/>
                <a:gd name="connsiteY2" fmla="*/ 148954 h 529001"/>
                <a:gd name="connsiteX3" fmla="*/ 497205 w 682942"/>
                <a:gd name="connsiteY3" fmla="*/ 188007 h 529001"/>
                <a:gd name="connsiteX4" fmla="*/ 514350 w 682942"/>
                <a:gd name="connsiteY4" fmla="*/ 216582 h 529001"/>
                <a:gd name="connsiteX5" fmla="*/ 529590 w 682942"/>
                <a:gd name="connsiteY5" fmla="*/ 220392 h 529001"/>
                <a:gd name="connsiteX6" fmla="*/ 546735 w 682942"/>
                <a:gd name="connsiteY6" fmla="*/ 215629 h 529001"/>
                <a:gd name="connsiteX7" fmla="*/ 667703 w 682942"/>
                <a:gd name="connsiteY7" fmla="*/ 138477 h 529001"/>
                <a:gd name="connsiteX8" fmla="*/ 682943 w 682942"/>
                <a:gd name="connsiteY8" fmla="*/ 110854 h 529001"/>
                <a:gd name="connsiteX9" fmla="*/ 667703 w 682942"/>
                <a:gd name="connsiteY9" fmla="*/ 83232 h 529001"/>
                <a:gd name="connsiteX10" fmla="*/ 546735 w 682942"/>
                <a:gd name="connsiteY10" fmla="*/ 5127 h 529001"/>
                <a:gd name="connsiteX11" fmla="*/ 513398 w 682942"/>
                <a:gd name="connsiteY11" fmla="*/ 4174 h 529001"/>
                <a:gd name="connsiteX12" fmla="*/ 496253 w 682942"/>
                <a:gd name="connsiteY12" fmla="*/ 32749 h 529001"/>
                <a:gd name="connsiteX13" fmla="*/ 496253 w 682942"/>
                <a:gd name="connsiteY13" fmla="*/ 74659 h 529001"/>
                <a:gd name="connsiteX14" fmla="*/ 417195 w 682942"/>
                <a:gd name="connsiteY14" fmla="*/ 74659 h 529001"/>
                <a:gd name="connsiteX15" fmla="*/ 0 w 682942"/>
                <a:gd name="connsiteY15" fmla="*/ 491854 h 529001"/>
                <a:gd name="connsiteX16" fmla="*/ 37148 w 682942"/>
                <a:gd name="connsiteY16" fmla="*/ 529002 h 529001"/>
                <a:gd name="connsiteX17" fmla="*/ 75248 w 682942"/>
                <a:gd name="connsiteY17" fmla="*/ 491854 h 5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2942" h="529001">
                  <a:moveTo>
                    <a:pt x="75248" y="491854"/>
                  </a:moveTo>
                  <a:cubicBezTo>
                    <a:pt x="75248" y="303259"/>
                    <a:pt x="228600" y="148954"/>
                    <a:pt x="418148" y="148954"/>
                  </a:cubicBezTo>
                  <a:lnTo>
                    <a:pt x="497205" y="148954"/>
                  </a:lnTo>
                  <a:lnTo>
                    <a:pt x="497205" y="188007"/>
                  </a:lnTo>
                  <a:cubicBezTo>
                    <a:pt x="497205" y="199437"/>
                    <a:pt x="503873" y="210867"/>
                    <a:pt x="514350" y="216582"/>
                  </a:cubicBezTo>
                  <a:cubicBezTo>
                    <a:pt x="519113" y="219439"/>
                    <a:pt x="524828" y="220392"/>
                    <a:pt x="529590" y="220392"/>
                  </a:cubicBezTo>
                  <a:cubicBezTo>
                    <a:pt x="535305" y="220392"/>
                    <a:pt x="541973" y="218487"/>
                    <a:pt x="546735" y="215629"/>
                  </a:cubicBezTo>
                  <a:lnTo>
                    <a:pt x="667703" y="138477"/>
                  </a:lnTo>
                  <a:cubicBezTo>
                    <a:pt x="677228" y="132762"/>
                    <a:pt x="682943" y="122284"/>
                    <a:pt x="682943" y="110854"/>
                  </a:cubicBezTo>
                  <a:cubicBezTo>
                    <a:pt x="682943" y="99424"/>
                    <a:pt x="677228" y="89899"/>
                    <a:pt x="667703" y="83232"/>
                  </a:cubicBezTo>
                  <a:lnTo>
                    <a:pt x="546735" y="5127"/>
                  </a:lnTo>
                  <a:cubicBezTo>
                    <a:pt x="537210" y="-1541"/>
                    <a:pt x="523875" y="-1541"/>
                    <a:pt x="513398" y="4174"/>
                  </a:cubicBezTo>
                  <a:cubicBezTo>
                    <a:pt x="502920" y="9889"/>
                    <a:pt x="496253" y="20367"/>
                    <a:pt x="496253" y="32749"/>
                  </a:cubicBezTo>
                  <a:lnTo>
                    <a:pt x="496253" y="74659"/>
                  </a:lnTo>
                  <a:lnTo>
                    <a:pt x="417195" y="74659"/>
                  </a:lnTo>
                  <a:cubicBezTo>
                    <a:pt x="186690" y="74659"/>
                    <a:pt x="0" y="261349"/>
                    <a:pt x="0" y="491854"/>
                  </a:cubicBezTo>
                  <a:cubicBezTo>
                    <a:pt x="0" y="512809"/>
                    <a:pt x="17145" y="529002"/>
                    <a:pt x="37148" y="529002"/>
                  </a:cubicBezTo>
                  <a:cubicBezTo>
                    <a:pt x="57150" y="529002"/>
                    <a:pt x="75248" y="511857"/>
                    <a:pt x="75248" y="491854"/>
                  </a:cubicBezTo>
                  <a:close/>
                </a:path>
              </a:pathLst>
            </a:custGeom>
            <a:grpFill/>
            <a:ln w="9525" cap="flat">
              <a:noFill/>
              <a:prstDash val="solid"/>
              <a:miter/>
            </a:ln>
          </p:spPr>
          <p:txBody>
            <a:bodyPr rtlCol="0" anchor="ctr"/>
            <a:lstStyle/>
            <a:p>
              <a:pPr algn="r" rtl="1"/>
              <a:endParaRPr lang="en-US"/>
            </a:p>
          </p:txBody>
        </p:sp>
        <p:sp>
          <p:nvSpPr>
            <p:cNvPr id="48" name="Freeform: Shape 47">
              <a:extLst>
                <a:ext uri="{FF2B5EF4-FFF2-40B4-BE49-F238E27FC236}">
                  <a16:creationId xmlns:a16="http://schemas.microsoft.com/office/drawing/2014/main" id="{39342AE2-F31F-40D6-B712-DD0D9F06D523}"/>
                </a:ext>
              </a:extLst>
            </p:cNvPr>
            <p:cNvSpPr/>
            <p:nvPr/>
          </p:nvSpPr>
          <p:spPr>
            <a:xfrm>
              <a:off x="218450" y="3501704"/>
              <a:ext cx="102809" cy="114299"/>
            </a:xfrm>
            <a:custGeom>
              <a:avLst/>
              <a:gdLst>
                <a:gd name="connsiteX0" fmla="*/ 9525 w 102809"/>
                <a:gd name="connsiteY0" fmla="*/ 60007 h 114299"/>
                <a:gd name="connsiteX1" fmla="*/ 35242 w 102809"/>
                <a:gd name="connsiteY1" fmla="*/ 96203 h 114299"/>
                <a:gd name="connsiteX2" fmla="*/ 66675 w 102809"/>
                <a:gd name="connsiteY2" fmla="*/ 114300 h 114299"/>
                <a:gd name="connsiteX3" fmla="*/ 85725 w 102809"/>
                <a:gd name="connsiteY3" fmla="*/ 108585 h 114299"/>
                <a:gd name="connsiteX4" fmla="*/ 101917 w 102809"/>
                <a:gd name="connsiteY4" fmla="*/ 85725 h 114299"/>
                <a:gd name="connsiteX5" fmla="*/ 97155 w 102809"/>
                <a:gd name="connsiteY5" fmla="*/ 58103 h 114299"/>
                <a:gd name="connsiteX6" fmla="*/ 65723 w 102809"/>
                <a:gd name="connsiteY6" fmla="*/ 13335 h 114299"/>
                <a:gd name="connsiteX7" fmla="*/ 40958 w 102809"/>
                <a:gd name="connsiteY7" fmla="*/ 0 h 114299"/>
                <a:gd name="connsiteX8" fmla="*/ 37148 w 102809"/>
                <a:gd name="connsiteY8" fmla="*/ 0 h 114299"/>
                <a:gd name="connsiteX9" fmla="*/ 13335 w 102809"/>
                <a:gd name="connsiteY9" fmla="*/ 8572 h 114299"/>
                <a:gd name="connsiteX10" fmla="*/ 0 w 102809"/>
                <a:gd name="connsiteY10" fmla="*/ 33338 h 114299"/>
                <a:gd name="connsiteX11" fmla="*/ 9525 w 102809"/>
                <a:gd name="connsiteY11" fmla="*/ 60007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09" h="114299">
                  <a:moveTo>
                    <a:pt x="9525" y="60007"/>
                  </a:moveTo>
                  <a:cubicBezTo>
                    <a:pt x="19050" y="71437"/>
                    <a:pt x="27623" y="83820"/>
                    <a:pt x="35242" y="96203"/>
                  </a:cubicBezTo>
                  <a:cubicBezTo>
                    <a:pt x="41910" y="107633"/>
                    <a:pt x="54292" y="114300"/>
                    <a:pt x="66675" y="114300"/>
                  </a:cubicBezTo>
                  <a:cubicBezTo>
                    <a:pt x="73342" y="114300"/>
                    <a:pt x="80010" y="112395"/>
                    <a:pt x="85725" y="108585"/>
                  </a:cubicBezTo>
                  <a:cubicBezTo>
                    <a:pt x="94298" y="103823"/>
                    <a:pt x="100013" y="95250"/>
                    <a:pt x="101917" y="85725"/>
                  </a:cubicBezTo>
                  <a:cubicBezTo>
                    <a:pt x="103823" y="76200"/>
                    <a:pt x="102870" y="65723"/>
                    <a:pt x="97155" y="58103"/>
                  </a:cubicBezTo>
                  <a:cubicBezTo>
                    <a:pt x="87630" y="42863"/>
                    <a:pt x="77152" y="27622"/>
                    <a:pt x="65723" y="13335"/>
                  </a:cubicBezTo>
                  <a:cubicBezTo>
                    <a:pt x="59055" y="5715"/>
                    <a:pt x="50483" y="953"/>
                    <a:pt x="40958" y="0"/>
                  </a:cubicBezTo>
                  <a:cubicBezTo>
                    <a:pt x="40005" y="0"/>
                    <a:pt x="38100" y="0"/>
                    <a:pt x="37148" y="0"/>
                  </a:cubicBezTo>
                  <a:cubicBezTo>
                    <a:pt x="28575" y="0"/>
                    <a:pt x="20955" y="2857"/>
                    <a:pt x="13335" y="8572"/>
                  </a:cubicBezTo>
                  <a:cubicBezTo>
                    <a:pt x="5715" y="15240"/>
                    <a:pt x="952" y="23813"/>
                    <a:pt x="0" y="33338"/>
                  </a:cubicBezTo>
                  <a:cubicBezTo>
                    <a:pt x="0" y="41910"/>
                    <a:pt x="2858" y="51435"/>
                    <a:pt x="9525" y="60007"/>
                  </a:cubicBezTo>
                  <a:close/>
                </a:path>
              </a:pathLst>
            </a:custGeom>
            <a:grpFill/>
            <a:ln w="9525" cap="flat">
              <a:noFill/>
              <a:prstDash val="solid"/>
              <a:miter/>
            </a:ln>
          </p:spPr>
          <p:txBody>
            <a:bodyPr rtlCol="0" anchor="ctr"/>
            <a:lstStyle/>
            <a:p>
              <a:pPr algn="r" rtl="1"/>
              <a:endParaRPr lang="en-US"/>
            </a:p>
          </p:txBody>
        </p:sp>
        <p:sp>
          <p:nvSpPr>
            <p:cNvPr id="49" name="Freeform: Shape 48">
              <a:extLst>
                <a:ext uri="{FF2B5EF4-FFF2-40B4-BE49-F238E27FC236}">
                  <a16:creationId xmlns:a16="http://schemas.microsoft.com/office/drawing/2014/main" id="{53CA5492-9DD7-4A45-9500-00BDFD8715BA}"/>
                </a:ext>
              </a:extLst>
            </p:cNvPr>
            <p:cNvSpPr/>
            <p:nvPr/>
          </p:nvSpPr>
          <p:spPr>
            <a:xfrm>
              <a:off x="273783" y="3843652"/>
              <a:ext cx="91006" cy="120967"/>
            </a:xfrm>
            <a:custGeom>
              <a:avLst/>
              <a:gdLst>
                <a:gd name="connsiteX0" fmla="*/ 63729 w 91006"/>
                <a:gd name="connsiteY0" fmla="*/ 952 h 120967"/>
                <a:gd name="connsiteX1" fmla="*/ 54204 w 91006"/>
                <a:gd name="connsiteY1" fmla="*/ 0 h 120967"/>
                <a:gd name="connsiteX2" fmla="*/ 18009 w 91006"/>
                <a:gd name="connsiteY2" fmla="*/ 27623 h 120967"/>
                <a:gd name="connsiteX3" fmla="*/ 2769 w 91006"/>
                <a:gd name="connsiteY3" fmla="*/ 69533 h 120967"/>
                <a:gd name="connsiteX4" fmla="*/ 22771 w 91006"/>
                <a:gd name="connsiteY4" fmla="*/ 118110 h 120967"/>
                <a:gd name="connsiteX5" fmla="*/ 37059 w 91006"/>
                <a:gd name="connsiteY5" fmla="*/ 120967 h 120967"/>
                <a:gd name="connsiteX6" fmla="*/ 71349 w 91006"/>
                <a:gd name="connsiteY6" fmla="*/ 98108 h 120967"/>
                <a:gd name="connsiteX7" fmla="*/ 89446 w 91006"/>
                <a:gd name="connsiteY7" fmla="*/ 46673 h 120967"/>
                <a:gd name="connsiteX8" fmla="*/ 85636 w 91006"/>
                <a:gd name="connsiteY8" fmla="*/ 18098 h 120967"/>
                <a:gd name="connsiteX9" fmla="*/ 63729 w 91006"/>
                <a:gd name="connsiteY9" fmla="*/ 952 h 12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06" h="120967">
                  <a:moveTo>
                    <a:pt x="63729" y="952"/>
                  </a:moveTo>
                  <a:cubicBezTo>
                    <a:pt x="60871" y="0"/>
                    <a:pt x="57061" y="0"/>
                    <a:pt x="54204" y="0"/>
                  </a:cubicBezTo>
                  <a:cubicBezTo>
                    <a:pt x="38011" y="0"/>
                    <a:pt x="22771" y="11430"/>
                    <a:pt x="18009" y="27623"/>
                  </a:cubicBezTo>
                  <a:cubicBezTo>
                    <a:pt x="14199" y="41910"/>
                    <a:pt x="9436" y="56198"/>
                    <a:pt x="2769" y="69533"/>
                  </a:cubicBezTo>
                  <a:cubicBezTo>
                    <a:pt x="-4851" y="88583"/>
                    <a:pt x="3721" y="110490"/>
                    <a:pt x="22771" y="118110"/>
                  </a:cubicBezTo>
                  <a:cubicBezTo>
                    <a:pt x="27534" y="120015"/>
                    <a:pt x="32296" y="120967"/>
                    <a:pt x="37059" y="120967"/>
                  </a:cubicBezTo>
                  <a:cubicBezTo>
                    <a:pt x="52299" y="120967"/>
                    <a:pt x="65634" y="112395"/>
                    <a:pt x="71349" y="98108"/>
                  </a:cubicBezTo>
                  <a:cubicBezTo>
                    <a:pt x="78016" y="80963"/>
                    <a:pt x="84684" y="63817"/>
                    <a:pt x="89446" y="46673"/>
                  </a:cubicBezTo>
                  <a:cubicBezTo>
                    <a:pt x="92304" y="37148"/>
                    <a:pt x="91351" y="26670"/>
                    <a:pt x="85636" y="18098"/>
                  </a:cubicBezTo>
                  <a:cubicBezTo>
                    <a:pt x="81826" y="9525"/>
                    <a:pt x="73254" y="3810"/>
                    <a:pt x="63729" y="952"/>
                  </a:cubicBezTo>
                  <a:close/>
                </a:path>
              </a:pathLst>
            </a:custGeom>
            <a:grpFill/>
            <a:ln w="9525" cap="flat">
              <a:noFill/>
              <a:prstDash val="solid"/>
              <a:miter/>
            </a:ln>
          </p:spPr>
          <p:txBody>
            <a:bodyPr rtlCol="0" anchor="ctr"/>
            <a:lstStyle/>
            <a:p>
              <a:pPr algn="r" rtl="1"/>
              <a:endParaRPr lang="en-US"/>
            </a:p>
          </p:txBody>
        </p:sp>
        <p:sp>
          <p:nvSpPr>
            <p:cNvPr id="50" name="Freeform: Shape 49">
              <a:extLst>
                <a:ext uri="{FF2B5EF4-FFF2-40B4-BE49-F238E27FC236}">
                  <a16:creationId xmlns:a16="http://schemas.microsoft.com/office/drawing/2014/main" id="{9088715C-F12B-4C62-8074-BFC70BD4CD54}"/>
                </a:ext>
              </a:extLst>
            </p:cNvPr>
            <p:cNvSpPr/>
            <p:nvPr/>
          </p:nvSpPr>
          <p:spPr>
            <a:xfrm>
              <a:off x="296793" y="3663629"/>
              <a:ext cx="81829" cy="123025"/>
            </a:xfrm>
            <a:custGeom>
              <a:avLst/>
              <a:gdLst>
                <a:gd name="connsiteX0" fmla="*/ 74057 w 81829"/>
                <a:gd name="connsiteY0" fmla="*/ 29528 h 123025"/>
                <a:gd name="connsiteX1" fmla="*/ 37862 w 81829"/>
                <a:gd name="connsiteY1" fmla="*/ 0 h 123025"/>
                <a:gd name="connsiteX2" fmla="*/ 30242 w 81829"/>
                <a:gd name="connsiteY2" fmla="*/ 953 h 123025"/>
                <a:gd name="connsiteX3" fmla="*/ 6429 w 81829"/>
                <a:gd name="connsiteY3" fmla="*/ 17145 h 123025"/>
                <a:gd name="connsiteX4" fmla="*/ 714 w 81829"/>
                <a:gd name="connsiteY4" fmla="*/ 44768 h 123025"/>
                <a:gd name="connsiteX5" fmla="*/ 7382 w 81829"/>
                <a:gd name="connsiteY5" fmla="*/ 88583 h 123025"/>
                <a:gd name="connsiteX6" fmla="*/ 47387 w 81829"/>
                <a:gd name="connsiteY6" fmla="*/ 122873 h 123025"/>
                <a:gd name="connsiteX7" fmla="*/ 81677 w 81829"/>
                <a:gd name="connsiteY7" fmla="*/ 82868 h 123025"/>
                <a:gd name="connsiteX8" fmla="*/ 74057 w 81829"/>
                <a:gd name="connsiteY8" fmla="*/ 29528 h 12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829" h="123025">
                  <a:moveTo>
                    <a:pt x="74057" y="29528"/>
                  </a:moveTo>
                  <a:cubicBezTo>
                    <a:pt x="70247" y="12383"/>
                    <a:pt x="55007" y="0"/>
                    <a:pt x="37862" y="0"/>
                  </a:cubicBezTo>
                  <a:cubicBezTo>
                    <a:pt x="35004" y="0"/>
                    <a:pt x="33099" y="0"/>
                    <a:pt x="30242" y="953"/>
                  </a:cubicBezTo>
                  <a:cubicBezTo>
                    <a:pt x="20717" y="2858"/>
                    <a:pt x="12144" y="8573"/>
                    <a:pt x="6429" y="17145"/>
                  </a:cubicBezTo>
                  <a:cubicBezTo>
                    <a:pt x="714" y="25718"/>
                    <a:pt x="-1191" y="35243"/>
                    <a:pt x="714" y="44768"/>
                  </a:cubicBezTo>
                  <a:cubicBezTo>
                    <a:pt x="3572" y="59055"/>
                    <a:pt x="5477" y="74295"/>
                    <a:pt x="7382" y="88583"/>
                  </a:cubicBezTo>
                  <a:cubicBezTo>
                    <a:pt x="9287" y="108585"/>
                    <a:pt x="26432" y="124778"/>
                    <a:pt x="47387" y="122873"/>
                  </a:cubicBezTo>
                  <a:cubicBezTo>
                    <a:pt x="67389" y="120968"/>
                    <a:pt x="83582" y="103823"/>
                    <a:pt x="81677" y="82868"/>
                  </a:cubicBezTo>
                  <a:cubicBezTo>
                    <a:pt x="79772" y="64770"/>
                    <a:pt x="76914" y="46673"/>
                    <a:pt x="74057" y="29528"/>
                  </a:cubicBezTo>
                  <a:close/>
                </a:path>
              </a:pathLst>
            </a:custGeom>
            <a:grpFill/>
            <a:ln w="9525" cap="flat">
              <a:noFill/>
              <a:prstDash val="solid"/>
              <a:miter/>
            </a:ln>
          </p:spPr>
          <p:txBody>
            <a:bodyPr rtlCol="0" anchor="ctr"/>
            <a:lstStyle/>
            <a:p>
              <a:pPr algn="r" rtl="1"/>
              <a:endParaRPr lang="en-US"/>
            </a:p>
          </p:txBody>
        </p:sp>
        <p:sp>
          <p:nvSpPr>
            <p:cNvPr id="51" name="Freeform: Shape 50">
              <a:extLst>
                <a:ext uri="{FF2B5EF4-FFF2-40B4-BE49-F238E27FC236}">
                  <a16:creationId xmlns:a16="http://schemas.microsoft.com/office/drawing/2014/main" id="{B740D7C2-2672-4811-9E73-84BAA02534D4}"/>
                </a:ext>
              </a:extLst>
            </p:cNvPr>
            <p:cNvSpPr/>
            <p:nvPr/>
          </p:nvSpPr>
          <p:spPr>
            <a:xfrm>
              <a:off x="166754" y="3999862"/>
              <a:ext cx="110894" cy="107632"/>
            </a:xfrm>
            <a:custGeom>
              <a:avLst/>
              <a:gdLst>
                <a:gd name="connsiteX0" fmla="*/ 72650 w 110894"/>
                <a:gd name="connsiteY0" fmla="*/ 0 h 107632"/>
                <a:gd name="connsiteX1" fmla="*/ 71698 w 110894"/>
                <a:gd name="connsiteY1" fmla="*/ 0 h 107632"/>
                <a:gd name="connsiteX2" fmla="*/ 45980 w 110894"/>
                <a:gd name="connsiteY2" fmla="*/ 11430 h 107632"/>
                <a:gd name="connsiteX3" fmla="*/ 13595 w 110894"/>
                <a:gd name="connsiteY3" fmla="*/ 41910 h 107632"/>
                <a:gd name="connsiteX4" fmla="*/ 8833 w 110894"/>
                <a:gd name="connsiteY4" fmla="*/ 94298 h 107632"/>
                <a:gd name="connsiteX5" fmla="*/ 37408 w 110894"/>
                <a:gd name="connsiteY5" fmla="*/ 107632 h 107632"/>
                <a:gd name="connsiteX6" fmla="*/ 61220 w 110894"/>
                <a:gd name="connsiteY6" fmla="*/ 99060 h 107632"/>
                <a:gd name="connsiteX7" fmla="*/ 101225 w 110894"/>
                <a:gd name="connsiteY7" fmla="*/ 61913 h 107632"/>
                <a:gd name="connsiteX8" fmla="*/ 110750 w 110894"/>
                <a:gd name="connsiteY8" fmla="*/ 35242 h 107632"/>
                <a:gd name="connsiteX9" fmla="*/ 99320 w 110894"/>
                <a:gd name="connsiteY9" fmla="*/ 9525 h 107632"/>
                <a:gd name="connsiteX10" fmla="*/ 72650 w 110894"/>
                <a:gd name="connsiteY10" fmla="*/ 0 h 10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894" h="107632">
                  <a:moveTo>
                    <a:pt x="72650" y="0"/>
                  </a:moveTo>
                  <a:cubicBezTo>
                    <a:pt x="72650" y="0"/>
                    <a:pt x="71698" y="0"/>
                    <a:pt x="71698" y="0"/>
                  </a:cubicBezTo>
                  <a:cubicBezTo>
                    <a:pt x="62173" y="0"/>
                    <a:pt x="52648" y="4763"/>
                    <a:pt x="45980" y="11430"/>
                  </a:cubicBezTo>
                  <a:cubicBezTo>
                    <a:pt x="35503" y="21907"/>
                    <a:pt x="25025" y="32385"/>
                    <a:pt x="13595" y="41910"/>
                  </a:cubicBezTo>
                  <a:cubicBezTo>
                    <a:pt x="-2597" y="55245"/>
                    <a:pt x="-4502" y="78105"/>
                    <a:pt x="8833" y="94298"/>
                  </a:cubicBezTo>
                  <a:cubicBezTo>
                    <a:pt x="15500" y="102870"/>
                    <a:pt x="25978" y="107632"/>
                    <a:pt x="37408" y="107632"/>
                  </a:cubicBezTo>
                  <a:cubicBezTo>
                    <a:pt x="45980" y="107632"/>
                    <a:pt x="54553" y="104775"/>
                    <a:pt x="61220" y="99060"/>
                  </a:cubicBezTo>
                  <a:cubicBezTo>
                    <a:pt x="75508" y="87630"/>
                    <a:pt x="88843" y="75248"/>
                    <a:pt x="101225" y="61913"/>
                  </a:cubicBezTo>
                  <a:cubicBezTo>
                    <a:pt x="107893" y="54292"/>
                    <a:pt x="111703" y="44767"/>
                    <a:pt x="110750" y="35242"/>
                  </a:cubicBezTo>
                  <a:cubicBezTo>
                    <a:pt x="110750" y="25717"/>
                    <a:pt x="105988" y="16192"/>
                    <a:pt x="99320" y="9525"/>
                  </a:cubicBezTo>
                  <a:cubicBezTo>
                    <a:pt x="90748" y="3810"/>
                    <a:pt x="82175" y="0"/>
                    <a:pt x="72650" y="0"/>
                  </a:cubicBezTo>
                  <a:close/>
                </a:path>
              </a:pathLst>
            </a:custGeom>
            <a:grpFill/>
            <a:ln w="9525" cap="flat">
              <a:noFill/>
              <a:prstDash val="solid"/>
              <a:miter/>
            </a:ln>
          </p:spPr>
          <p:txBody>
            <a:bodyPr rtlCol="0" anchor="ctr"/>
            <a:lstStyle/>
            <a:p>
              <a:pPr algn="r" rtl="1"/>
              <a:endParaRPr lang="en-US"/>
            </a:p>
          </p:txBody>
        </p:sp>
        <p:sp>
          <p:nvSpPr>
            <p:cNvPr id="52" name="Freeform: Shape 51">
              <a:extLst>
                <a:ext uri="{FF2B5EF4-FFF2-40B4-BE49-F238E27FC236}">
                  <a16:creationId xmlns:a16="http://schemas.microsoft.com/office/drawing/2014/main" id="{9657E8C4-67CE-4E55-B387-FB400E5C01D8}"/>
                </a:ext>
              </a:extLst>
            </p:cNvPr>
            <p:cNvSpPr/>
            <p:nvPr/>
          </p:nvSpPr>
          <p:spPr>
            <a:xfrm>
              <a:off x="-432706" y="3869369"/>
              <a:ext cx="95210" cy="119062"/>
            </a:xfrm>
            <a:custGeom>
              <a:avLst/>
              <a:gdLst>
                <a:gd name="connsiteX0" fmla="*/ 72036 w 95210"/>
                <a:gd name="connsiteY0" fmla="*/ 24765 h 119062"/>
                <a:gd name="connsiteX1" fmla="*/ 52986 w 95210"/>
                <a:gd name="connsiteY1" fmla="*/ 3810 h 119062"/>
                <a:gd name="connsiteX2" fmla="*/ 36794 w 95210"/>
                <a:gd name="connsiteY2" fmla="*/ 0 h 119062"/>
                <a:gd name="connsiteX3" fmla="*/ 24411 w 95210"/>
                <a:gd name="connsiteY3" fmla="*/ 1905 h 119062"/>
                <a:gd name="connsiteX4" fmla="*/ 2504 w 95210"/>
                <a:gd name="connsiteY4" fmla="*/ 49530 h 119062"/>
                <a:gd name="connsiteX5" fmla="*/ 24411 w 95210"/>
                <a:gd name="connsiteY5" fmla="*/ 99060 h 119062"/>
                <a:gd name="connsiteX6" fmla="*/ 57749 w 95210"/>
                <a:gd name="connsiteY6" fmla="*/ 119062 h 119062"/>
                <a:gd name="connsiteX7" fmla="*/ 74894 w 95210"/>
                <a:gd name="connsiteY7" fmla="*/ 115253 h 119062"/>
                <a:gd name="connsiteX8" fmla="*/ 91086 w 95210"/>
                <a:gd name="connsiteY8" fmla="*/ 64770 h 119062"/>
                <a:gd name="connsiteX9" fmla="*/ 72036 w 95210"/>
                <a:gd name="connsiteY9" fmla="*/ 24765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0" h="119062">
                  <a:moveTo>
                    <a:pt x="72036" y="24765"/>
                  </a:moveTo>
                  <a:cubicBezTo>
                    <a:pt x="68226" y="15240"/>
                    <a:pt x="61559" y="7620"/>
                    <a:pt x="52986" y="3810"/>
                  </a:cubicBezTo>
                  <a:cubicBezTo>
                    <a:pt x="48224" y="1905"/>
                    <a:pt x="42509" y="0"/>
                    <a:pt x="36794" y="0"/>
                  </a:cubicBezTo>
                  <a:cubicBezTo>
                    <a:pt x="32031" y="0"/>
                    <a:pt x="28221" y="952"/>
                    <a:pt x="24411" y="1905"/>
                  </a:cubicBezTo>
                  <a:cubicBezTo>
                    <a:pt x="5361" y="8572"/>
                    <a:pt x="-5116" y="30480"/>
                    <a:pt x="2504" y="49530"/>
                  </a:cubicBezTo>
                  <a:cubicBezTo>
                    <a:pt x="8219" y="66675"/>
                    <a:pt x="15839" y="82868"/>
                    <a:pt x="24411" y="99060"/>
                  </a:cubicBezTo>
                  <a:cubicBezTo>
                    <a:pt x="31079" y="111443"/>
                    <a:pt x="43461" y="119062"/>
                    <a:pt x="57749" y="119062"/>
                  </a:cubicBezTo>
                  <a:cubicBezTo>
                    <a:pt x="63464" y="119062"/>
                    <a:pt x="69179" y="117157"/>
                    <a:pt x="74894" y="115253"/>
                  </a:cubicBezTo>
                  <a:cubicBezTo>
                    <a:pt x="92991" y="105728"/>
                    <a:pt x="100611" y="82868"/>
                    <a:pt x="91086" y="64770"/>
                  </a:cubicBezTo>
                  <a:cubicBezTo>
                    <a:pt x="83466" y="52387"/>
                    <a:pt x="76799" y="39053"/>
                    <a:pt x="72036" y="24765"/>
                  </a:cubicBezTo>
                  <a:close/>
                </a:path>
              </a:pathLst>
            </a:custGeom>
            <a:grpFill/>
            <a:ln w="9525" cap="flat">
              <a:noFill/>
              <a:prstDash val="solid"/>
              <a:miter/>
            </a:ln>
          </p:spPr>
          <p:txBody>
            <a:bodyPr rtlCol="0" anchor="ctr"/>
            <a:lstStyle/>
            <a:p>
              <a:pPr algn="r" rtl="1"/>
              <a:endParaRPr lang="en-US"/>
            </a:p>
          </p:txBody>
        </p:sp>
        <p:sp>
          <p:nvSpPr>
            <p:cNvPr id="55" name="Freeform: Shape 54">
              <a:extLst>
                <a:ext uri="{FF2B5EF4-FFF2-40B4-BE49-F238E27FC236}">
                  <a16:creationId xmlns:a16="http://schemas.microsoft.com/office/drawing/2014/main" id="{855C0E94-B1A8-4BD2-9401-3B6316B4EF7C}"/>
                </a:ext>
              </a:extLst>
            </p:cNvPr>
            <p:cNvSpPr/>
            <p:nvPr/>
          </p:nvSpPr>
          <p:spPr>
            <a:xfrm>
              <a:off x="-333192" y="4019864"/>
              <a:ext cx="112773" cy="105727"/>
            </a:xfrm>
            <a:custGeom>
              <a:avLst/>
              <a:gdLst>
                <a:gd name="connsiteX0" fmla="*/ 62057 w 112773"/>
                <a:gd name="connsiteY0" fmla="*/ 9525 h 105727"/>
                <a:gd name="connsiteX1" fmla="*/ 37292 w 112773"/>
                <a:gd name="connsiteY1" fmla="*/ 0 h 105727"/>
                <a:gd name="connsiteX2" fmla="*/ 35387 w 112773"/>
                <a:gd name="connsiteY2" fmla="*/ 0 h 105727"/>
                <a:gd name="connsiteX3" fmla="*/ 9670 w 112773"/>
                <a:gd name="connsiteY3" fmla="*/ 12383 h 105727"/>
                <a:gd name="connsiteX4" fmla="*/ 145 w 112773"/>
                <a:gd name="connsiteY4" fmla="*/ 39052 h 105727"/>
                <a:gd name="connsiteX5" fmla="*/ 11575 w 112773"/>
                <a:gd name="connsiteY5" fmla="*/ 64770 h 105727"/>
                <a:gd name="connsiteX6" fmla="*/ 53485 w 112773"/>
                <a:gd name="connsiteY6" fmla="*/ 99060 h 105727"/>
                <a:gd name="connsiteX7" fmla="*/ 75392 w 112773"/>
                <a:gd name="connsiteY7" fmla="*/ 105727 h 105727"/>
                <a:gd name="connsiteX8" fmla="*/ 105872 w 112773"/>
                <a:gd name="connsiteY8" fmla="*/ 89535 h 105727"/>
                <a:gd name="connsiteX9" fmla="*/ 112540 w 112773"/>
                <a:gd name="connsiteY9" fmla="*/ 61913 h 105727"/>
                <a:gd name="connsiteX10" fmla="*/ 97300 w 112773"/>
                <a:gd name="connsiteY10" fmla="*/ 38100 h 105727"/>
                <a:gd name="connsiteX11" fmla="*/ 62057 w 112773"/>
                <a:gd name="connsiteY11" fmla="*/ 9525 h 10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3" h="105727">
                  <a:moveTo>
                    <a:pt x="62057" y="9525"/>
                  </a:moveTo>
                  <a:cubicBezTo>
                    <a:pt x="55390" y="2858"/>
                    <a:pt x="45865" y="0"/>
                    <a:pt x="37292" y="0"/>
                  </a:cubicBezTo>
                  <a:cubicBezTo>
                    <a:pt x="36340" y="0"/>
                    <a:pt x="36340" y="0"/>
                    <a:pt x="35387" y="0"/>
                  </a:cubicBezTo>
                  <a:cubicBezTo>
                    <a:pt x="25862" y="0"/>
                    <a:pt x="16337" y="4763"/>
                    <a:pt x="9670" y="12383"/>
                  </a:cubicBezTo>
                  <a:cubicBezTo>
                    <a:pt x="3002" y="20002"/>
                    <a:pt x="-808" y="29527"/>
                    <a:pt x="145" y="39052"/>
                  </a:cubicBezTo>
                  <a:cubicBezTo>
                    <a:pt x="145" y="48577"/>
                    <a:pt x="4907" y="58102"/>
                    <a:pt x="11575" y="64770"/>
                  </a:cubicBezTo>
                  <a:cubicBezTo>
                    <a:pt x="24910" y="77152"/>
                    <a:pt x="39197" y="88583"/>
                    <a:pt x="53485" y="99060"/>
                  </a:cubicBezTo>
                  <a:cubicBezTo>
                    <a:pt x="60152" y="103823"/>
                    <a:pt x="66820" y="105727"/>
                    <a:pt x="75392" y="105727"/>
                  </a:cubicBezTo>
                  <a:cubicBezTo>
                    <a:pt x="87775" y="105727"/>
                    <a:pt x="99205" y="100013"/>
                    <a:pt x="105872" y="89535"/>
                  </a:cubicBezTo>
                  <a:cubicBezTo>
                    <a:pt x="111587" y="80963"/>
                    <a:pt x="113492" y="71438"/>
                    <a:pt x="112540" y="61913"/>
                  </a:cubicBezTo>
                  <a:cubicBezTo>
                    <a:pt x="110635" y="52388"/>
                    <a:pt x="105872" y="43815"/>
                    <a:pt x="97300" y="38100"/>
                  </a:cubicBezTo>
                  <a:cubicBezTo>
                    <a:pt x="84917" y="29527"/>
                    <a:pt x="73487" y="20002"/>
                    <a:pt x="62057" y="9525"/>
                  </a:cubicBezTo>
                  <a:close/>
                </a:path>
              </a:pathLst>
            </a:custGeom>
            <a:grpFill/>
            <a:ln w="9525" cap="flat">
              <a:noFill/>
              <a:prstDash val="solid"/>
              <a:miter/>
            </a:ln>
          </p:spPr>
          <p:txBody>
            <a:bodyPr rtlCol="0" anchor="ctr"/>
            <a:lstStyle/>
            <a:p>
              <a:pPr algn="r" rtl="1"/>
              <a:endParaRPr lang="en-US"/>
            </a:p>
          </p:txBody>
        </p:sp>
        <p:sp>
          <p:nvSpPr>
            <p:cNvPr id="56" name="Freeform: Shape 55">
              <a:extLst>
                <a:ext uri="{FF2B5EF4-FFF2-40B4-BE49-F238E27FC236}">
                  <a16:creationId xmlns:a16="http://schemas.microsoft.com/office/drawing/2014/main" id="{DC67B01A-FC2B-4EE9-843F-3D6C6BE5B3E8}"/>
                </a:ext>
              </a:extLst>
            </p:cNvPr>
            <p:cNvSpPr/>
            <p:nvPr/>
          </p:nvSpPr>
          <p:spPr>
            <a:xfrm>
              <a:off x="3777" y="4098922"/>
              <a:ext cx="122036" cy="87629"/>
            </a:xfrm>
            <a:custGeom>
              <a:avLst/>
              <a:gdLst>
                <a:gd name="connsiteX0" fmla="*/ 101325 w 122036"/>
                <a:gd name="connsiteY0" fmla="*/ 3810 h 87629"/>
                <a:gd name="connsiteX1" fmla="*/ 85133 w 122036"/>
                <a:gd name="connsiteY1" fmla="*/ 0 h 87629"/>
                <a:gd name="connsiteX2" fmla="*/ 72750 w 122036"/>
                <a:gd name="connsiteY2" fmla="*/ 1905 h 87629"/>
                <a:gd name="connsiteX3" fmla="*/ 29888 w 122036"/>
                <a:gd name="connsiteY3" fmla="*/ 14288 h 87629"/>
                <a:gd name="connsiteX4" fmla="*/ 6075 w 122036"/>
                <a:gd name="connsiteY4" fmla="*/ 30480 h 87629"/>
                <a:gd name="connsiteX5" fmla="*/ 1313 w 122036"/>
                <a:gd name="connsiteY5" fmla="*/ 58102 h 87629"/>
                <a:gd name="connsiteX6" fmla="*/ 37508 w 122036"/>
                <a:gd name="connsiteY6" fmla="*/ 87630 h 87629"/>
                <a:gd name="connsiteX7" fmla="*/ 45128 w 122036"/>
                <a:gd name="connsiteY7" fmla="*/ 86677 h 87629"/>
                <a:gd name="connsiteX8" fmla="*/ 97515 w 122036"/>
                <a:gd name="connsiteY8" fmla="*/ 71438 h 87629"/>
                <a:gd name="connsiteX9" fmla="*/ 118470 w 122036"/>
                <a:gd name="connsiteY9" fmla="*/ 52388 h 87629"/>
                <a:gd name="connsiteX10" fmla="*/ 120375 w 122036"/>
                <a:gd name="connsiteY10" fmla="*/ 23813 h 87629"/>
                <a:gd name="connsiteX11" fmla="*/ 101325 w 122036"/>
                <a:gd name="connsiteY11" fmla="*/ 381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36" h="87629">
                  <a:moveTo>
                    <a:pt x="101325" y="3810"/>
                  </a:moveTo>
                  <a:cubicBezTo>
                    <a:pt x="96563" y="952"/>
                    <a:pt x="90848" y="0"/>
                    <a:pt x="85133" y="0"/>
                  </a:cubicBezTo>
                  <a:cubicBezTo>
                    <a:pt x="81323" y="0"/>
                    <a:pt x="76560" y="952"/>
                    <a:pt x="72750" y="1905"/>
                  </a:cubicBezTo>
                  <a:cubicBezTo>
                    <a:pt x="58463" y="6667"/>
                    <a:pt x="44175" y="11430"/>
                    <a:pt x="29888" y="14288"/>
                  </a:cubicBezTo>
                  <a:cubicBezTo>
                    <a:pt x="20363" y="16192"/>
                    <a:pt x="11790" y="21907"/>
                    <a:pt x="6075" y="30480"/>
                  </a:cubicBezTo>
                  <a:cubicBezTo>
                    <a:pt x="360" y="39052"/>
                    <a:pt x="-1545" y="48577"/>
                    <a:pt x="1313" y="58102"/>
                  </a:cubicBezTo>
                  <a:cubicBezTo>
                    <a:pt x="5123" y="75247"/>
                    <a:pt x="20363" y="87630"/>
                    <a:pt x="37508" y="87630"/>
                  </a:cubicBezTo>
                  <a:cubicBezTo>
                    <a:pt x="40365" y="87630"/>
                    <a:pt x="42270" y="87630"/>
                    <a:pt x="45128" y="86677"/>
                  </a:cubicBezTo>
                  <a:cubicBezTo>
                    <a:pt x="62273" y="82867"/>
                    <a:pt x="80370" y="78105"/>
                    <a:pt x="97515" y="71438"/>
                  </a:cubicBezTo>
                  <a:cubicBezTo>
                    <a:pt x="107040" y="67627"/>
                    <a:pt x="114660" y="60960"/>
                    <a:pt x="118470" y="52388"/>
                  </a:cubicBezTo>
                  <a:cubicBezTo>
                    <a:pt x="122280" y="43815"/>
                    <a:pt x="123233" y="33338"/>
                    <a:pt x="120375" y="23813"/>
                  </a:cubicBezTo>
                  <a:cubicBezTo>
                    <a:pt x="116565" y="15240"/>
                    <a:pt x="109898" y="7620"/>
                    <a:pt x="101325" y="3810"/>
                  </a:cubicBezTo>
                  <a:close/>
                </a:path>
              </a:pathLst>
            </a:custGeom>
            <a:grpFill/>
            <a:ln w="9525" cap="flat">
              <a:noFill/>
              <a:prstDash val="solid"/>
              <a:miter/>
            </a:ln>
          </p:spPr>
          <p:txBody>
            <a:bodyPr rtlCol="0" anchor="ctr"/>
            <a:lstStyle/>
            <a:p>
              <a:pPr algn="r" rtl="1"/>
              <a:endParaRPr lang="en-US"/>
            </a:p>
          </p:txBody>
        </p:sp>
        <p:sp>
          <p:nvSpPr>
            <p:cNvPr id="57" name="Freeform: Shape 56">
              <a:extLst>
                <a:ext uri="{FF2B5EF4-FFF2-40B4-BE49-F238E27FC236}">
                  <a16:creationId xmlns:a16="http://schemas.microsoft.com/office/drawing/2014/main" id="{A1349A0E-C24C-466C-AFDE-0EBB3530DCC8}"/>
                </a:ext>
              </a:extLst>
            </p:cNvPr>
            <p:cNvSpPr/>
            <p:nvPr/>
          </p:nvSpPr>
          <p:spPr>
            <a:xfrm>
              <a:off x="-176275" y="4107104"/>
              <a:ext cx="123492" cy="84443"/>
            </a:xfrm>
            <a:custGeom>
              <a:avLst/>
              <a:gdLst>
                <a:gd name="connsiteX0" fmla="*/ 90878 w 123492"/>
                <a:gd name="connsiteY0" fmla="*/ 9915 h 84443"/>
                <a:gd name="connsiteX1" fmla="*/ 47063 w 123492"/>
                <a:gd name="connsiteY1" fmla="*/ 1343 h 84443"/>
                <a:gd name="connsiteX2" fmla="*/ 18488 w 123492"/>
                <a:gd name="connsiteY2" fmla="*/ 5153 h 84443"/>
                <a:gd name="connsiteX3" fmla="*/ 1343 w 123492"/>
                <a:gd name="connsiteY3" fmla="*/ 28013 h 84443"/>
                <a:gd name="connsiteX4" fmla="*/ 5153 w 123492"/>
                <a:gd name="connsiteY4" fmla="*/ 56588 h 84443"/>
                <a:gd name="connsiteX5" fmla="*/ 28013 w 123492"/>
                <a:gd name="connsiteY5" fmla="*/ 73733 h 84443"/>
                <a:gd name="connsiteX6" fmla="*/ 81353 w 123492"/>
                <a:gd name="connsiteY6" fmla="*/ 84210 h 84443"/>
                <a:gd name="connsiteX7" fmla="*/ 108975 w 123492"/>
                <a:gd name="connsiteY7" fmla="*/ 77543 h 84443"/>
                <a:gd name="connsiteX8" fmla="*/ 123263 w 123492"/>
                <a:gd name="connsiteY8" fmla="*/ 52778 h 84443"/>
                <a:gd name="connsiteX9" fmla="*/ 115643 w 123492"/>
                <a:gd name="connsiteY9" fmla="*/ 25155 h 84443"/>
                <a:gd name="connsiteX10" fmla="*/ 90878 w 123492"/>
                <a:gd name="connsiteY10" fmla="*/ 9915 h 8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492" h="84443">
                  <a:moveTo>
                    <a:pt x="90878" y="9915"/>
                  </a:moveTo>
                  <a:cubicBezTo>
                    <a:pt x="75638" y="8010"/>
                    <a:pt x="61350" y="5153"/>
                    <a:pt x="47063" y="1343"/>
                  </a:cubicBezTo>
                  <a:cubicBezTo>
                    <a:pt x="37538" y="-1515"/>
                    <a:pt x="27060" y="390"/>
                    <a:pt x="18488" y="5153"/>
                  </a:cubicBezTo>
                  <a:cubicBezTo>
                    <a:pt x="9915" y="9915"/>
                    <a:pt x="3248" y="18488"/>
                    <a:pt x="1343" y="28013"/>
                  </a:cubicBezTo>
                  <a:cubicBezTo>
                    <a:pt x="-1515" y="37538"/>
                    <a:pt x="390" y="48015"/>
                    <a:pt x="5153" y="56588"/>
                  </a:cubicBezTo>
                  <a:cubicBezTo>
                    <a:pt x="9915" y="65160"/>
                    <a:pt x="18488" y="71828"/>
                    <a:pt x="28013" y="73733"/>
                  </a:cubicBezTo>
                  <a:cubicBezTo>
                    <a:pt x="45158" y="78495"/>
                    <a:pt x="63255" y="82305"/>
                    <a:pt x="81353" y="84210"/>
                  </a:cubicBezTo>
                  <a:cubicBezTo>
                    <a:pt x="90878" y="85163"/>
                    <a:pt x="100403" y="83258"/>
                    <a:pt x="108975" y="77543"/>
                  </a:cubicBezTo>
                  <a:cubicBezTo>
                    <a:pt x="116595" y="71828"/>
                    <a:pt x="122310" y="62303"/>
                    <a:pt x="123263" y="52778"/>
                  </a:cubicBezTo>
                  <a:cubicBezTo>
                    <a:pt x="124215" y="43253"/>
                    <a:pt x="122310" y="32775"/>
                    <a:pt x="115643" y="25155"/>
                  </a:cubicBezTo>
                  <a:cubicBezTo>
                    <a:pt x="109928" y="16583"/>
                    <a:pt x="101355" y="11820"/>
                    <a:pt x="90878" y="9915"/>
                  </a:cubicBezTo>
                  <a:close/>
                </a:path>
              </a:pathLst>
            </a:custGeom>
            <a:grpFill/>
            <a:ln w="9525" cap="flat">
              <a:noFill/>
              <a:prstDash val="solid"/>
              <a:miter/>
            </a:ln>
          </p:spPr>
          <p:txBody>
            <a:bodyPr rtlCol="0" anchor="ctr"/>
            <a:lstStyle/>
            <a:p>
              <a:pPr algn="r" rtl="1"/>
              <a:endParaRPr lang="en-US"/>
            </a:p>
          </p:txBody>
        </p:sp>
      </p:grpSp>
      <p:sp>
        <p:nvSpPr>
          <p:cNvPr id="58" name="TextBox 57">
            <a:extLst>
              <a:ext uri="{FF2B5EF4-FFF2-40B4-BE49-F238E27FC236}">
                <a16:creationId xmlns:a16="http://schemas.microsoft.com/office/drawing/2014/main" id="{548D6935-61C1-48C6-9AA7-055B9BA4848D}"/>
              </a:ext>
            </a:extLst>
          </p:cNvPr>
          <p:cNvSpPr txBox="1"/>
          <p:nvPr/>
        </p:nvSpPr>
        <p:spPr>
          <a:xfrm>
            <a:off x="4139856" y="220920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ب</a:t>
            </a:r>
          </a:p>
        </p:txBody>
      </p:sp>
      <p:cxnSp>
        <p:nvCxnSpPr>
          <p:cNvPr id="59" name="Straight Connector 58">
            <a:extLst>
              <a:ext uri="{FF2B5EF4-FFF2-40B4-BE49-F238E27FC236}">
                <a16:creationId xmlns:a16="http://schemas.microsoft.com/office/drawing/2014/main" id="{7FF8AC94-F8D4-4E76-B022-CCEB27805C2B}"/>
              </a:ext>
            </a:extLst>
          </p:cNvPr>
          <p:cNvCxnSpPr>
            <a:cxnSpLocks/>
          </p:cNvCxnSpPr>
          <p:nvPr/>
        </p:nvCxnSpPr>
        <p:spPr>
          <a:xfrm flipH="1">
            <a:off x="4092231" y="2257084"/>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77CBAFCE-4880-4660-AFF8-4DD1234D6CC9}"/>
              </a:ext>
            </a:extLst>
          </p:cNvPr>
          <p:cNvSpPr/>
          <p:nvPr/>
        </p:nvSpPr>
        <p:spPr>
          <a:xfrm flipH="1">
            <a:off x="424735" y="1425686"/>
            <a:ext cx="11106323" cy="4616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توفر «الشبكة الأسترالية للبنية التحتية للأبحاث الحضرية» منصة عمل شاملة عبر الإنترنت تتيح الوصول إلى الآلاف من مجموعات البيانات ذات تخصصات متعددة وتوفر العديد من الأدوات لتحليل البيانات وتحويلها إلى صور مرئية</a:t>
            </a:r>
          </a:p>
        </p:txBody>
      </p:sp>
      <p:pic>
        <p:nvPicPr>
          <p:cNvPr id="38" name="Picture 2" descr="AURIN. Australian Urban Research Infrastructure Network">
            <a:extLst>
              <a:ext uri="{FF2B5EF4-FFF2-40B4-BE49-F238E27FC236}">
                <a16:creationId xmlns:a16="http://schemas.microsoft.com/office/drawing/2014/main" id="{E6A911C4-291B-4322-AAFD-D03476FF509E}"/>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Rounded Corners 39">
            <a:extLst>
              <a:ext uri="{FF2B5EF4-FFF2-40B4-BE49-F238E27FC236}">
                <a16:creationId xmlns:a16="http://schemas.microsoft.com/office/drawing/2014/main" id="{E3357F06-D901-404D-A6A3-856EADA260D5}"/>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4- تجربة المستخدم</a:t>
            </a:r>
          </a:p>
        </p:txBody>
      </p:sp>
      <p:pic>
        <p:nvPicPr>
          <p:cNvPr id="35" name="Picture 34">
            <a:extLst>
              <a:ext uri="{FF2B5EF4-FFF2-40B4-BE49-F238E27FC236}">
                <a16:creationId xmlns:a16="http://schemas.microsoft.com/office/drawing/2014/main" id="{3B3A680D-808D-43DD-9808-C083F05D6F23}"/>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2438371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1005020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3"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30" name="Footer Placeholder 29">
            <a:extLst>
              <a:ext uri="{FF2B5EF4-FFF2-40B4-BE49-F238E27FC236}">
                <a16:creationId xmlns:a16="http://schemas.microsoft.com/office/drawing/2014/main" id="{5FB2C34A-DEBC-4AA6-AEF3-AFA0B3882D09}"/>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26" name="Slide Number Placeholder 4">
            <a:extLst>
              <a:ext uri="{FF2B5EF4-FFF2-40B4-BE49-F238E27FC236}">
                <a16:creationId xmlns:a16="http://schemas.microsoft.com/office/drawing/2014/main" id="{B30CBC3C-2632-44C3-960F-739D2EEEB2D2}"/>
              </a:ext>
            </a:extLst>
          </p:cNvPr>
          <p:cNvSpPr>
            <a:spLocks noGrp="1"/>
          </p:cNvSpPr>
          <p:nvPr>
            <p:ph type="sldNum" sz="quarter" idx="12"/>
          </p:nvPr>
        </p:nvSpPr>
        <p:spPr/>
        <p:txBody>
          <a:bodyPr/>
          <a:lstStyle/>
          <a:p>
            <a:pPr lvl="0"/>
            <a:fld id="{9FDB499F-DC86-4996-A3C7-FCE8E06389C2}" type="slidenum">
              <a:rPr lang="ar-SA" noProof="0" smtClean="0"/>
              <a:pPr lvl="0"/>
              <a:t>18</a:t>
            </a:fld>
            <a:endParaRPr lang="ar-SA" noProof="0"/>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2/ 4)</a:t>
            </a:r>
          </a:p>
        </p:txBody>
      </p:sp>
      <p:sp>
        <p:nvSpPr>
          <p:cNvPr id="17" name="Footer Placeholder 1">
            <a:extLst>
              <a:ext uri="{FF2B5EF4-FFF2-40B4-BE49-F238E27FC236}">
                <a16:creationId xmlns:a16="http://schemas.microsoft.com/office/drawing/2014/main" id="{7BA9EFCF-475E-4869-9AD5-77F08588F942}"/>
              </a:ext>
            </a:extLst>
          </p:cNvPr>
          <p:cNvSpPr txBox="1">
            <a:spLocks/>
          </p:cNvSpPr>
          <p:nvPr/>
        </p:nvSpPr>
        <p:spPr>
          <a:xfrm>
            <a:off x="645160" y="6446520"/>
            <a:ext cx="8140700" cy="274957"/>
          </a:xfrm>
          <a:prstGeom prst="rect">
            <a:avLst/>
          </a:prstGeom>
        </p:spPr>
        <p:txBody>
          <a:bodyPr vert="horz" lIns="91440" tIns="45720" rIns="91440" bIns="45720" rtlCol="1" anchor="b"/>
          <a:lstStyle>
            <a:defPPr>
              <a:defRPr lang="en-US"/>
            </a:defPPr>
            <a:lvl1pPr>
              <a:defRPr sz="900">
                <a:solidFill>
                  <a:schemeClr val="bg1">
                    <a:lumMod val="65000"/>
                  </a:schemeClr>
                </a:solidFill>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endParaRPr lang="ar-SA"/>
          </a:p>
        </p:txBody>
      </p:sp>
      <p:sp>
        <p:nvSpPr>
          <p:cNvPr id="21" name="TextBox 20">
            <a:extLst>
              <a:ext uri="{FF2B5EF4-FFF2-40B4-BE49-F238E27FC236}">
                <a16:creationId xmlns:a16="http://schemas.microsoft.com/office/drawing/2014/main" id="{CB433B2D-04BA-4DE6-A0A6-18ED9916921B}"/>
              </a:ext>
            </a:extLst>
          </p:cNvPr>
          <p:cNvSpPr txBox="1"/>
          <p:nvPr/>
        </p:nvSpPr>
        <p:spPr>
          <a:xfrm flipH="1">
            <a:off x="1364092" y="5334940"/>
            <a:ext cx="5031529" cy="830997"/>
          </a:xfrm>
          <a:prstGeom prst="rect">
            <a:avLst/>
          </a:prstGeom>
          <a:noFill/>
        </p:spPr>
        <p:txBody>
          <a:bodyPr wrap="square" rtlCol="0">
            <a:spAutoFit/>
          </a:bodyPr>
          <a:lstStyle/>
          <a:p>
            <a:pPr algn="r" rtl="1"/>
            <a:r>
              <a:rPr lang="ar-SA" sz="1200"/>
              <a:t>طورت «الشبكة الأسترالية للبنية التحتية للأبحاث الحضرية» نموذجاً أولياً لأول بوابة </a:t>
            </a:r>
            <a:r>
              <a:rPr lang="ar-EG" sz="1200"/>
              <a:t>لتحويل البيانات إلى صور </a:t>
            </a:r>
            <a:r>
              <a:rPr lang="ar-SA" sz="1200"/>
              <a:t>ثلاثية الأبعاد في أستراليا بهدف إمداد مسؤولي إعداد السياسات والباحثين والمهنيين بواجهة لنمذجة السيناريوهات البديلة بالاعتماد على الأدلة في مناطق متفاوتة المقاييس</a:t>
            </a:r>
          </a:p>
        </p:txBody>
      </p:sp>
      <p:pic>
        <p:nvPicPr>
          <p:cNvPr id="2" name="Picture 4" descr="3d modelling tool">
            <a:extLst>
              <a:ext uri="{FF2B5EF4-FFF2-40B4-BE49-F238E27FC236}">
                <a16:creationId xmlns:a16="http://schemas.microsoft.com/office/drawing/2014/main" id="{92DD9612-D3D3-4F38-ACEA-1269D1D5D087}"/>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364092" y="2447901"/>
            <a:ext cx="5031529" cy="2832032"/>
          </a:xfrm>
          <a:prstGeom prst="rect">
            <a:avLst/>
          </a:prstGeom>
          <a:effectLst>
            <a:outerShdw blurRad="127000" sx="96000" sy="96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95E90488-7CA4-489C-8729-B236196D2991}"/>
              </a:ext>
            </a:extLst>
          </p:cNvPr>
          <p:cNvSpPr/>
          <p:nvPr/>
        </p:nvSpPr>
        <p:spPr>
          <a:xfrm flipH="1">
            <a:off x="5444496" y="159926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050"/>
              <a:t>أدوات تحويل </a:t>
            </a:r>
            <a:br>
              <a:rPr lang="ar-EG" sz="1050"/>
            </a:br>
            <a:r>
              <a:rPr lang="ar-SA" sz="1050"/>
              <a:t>البيانات إلى صور مرئية</a:t>
            </a:r>
            <a:endParaRPr lang="ar-SA" sz="1200"/>
          </a:p>
        </p:txBody>
      </p:sp>
      <p:sp>
        <p:nvSpPr>
          <p:cNvPr id="33" name="TextBox 32">
            <a:extLst>
              <a:ext uri="{FF2B5EF4-FFF2-40B4-BE49-F238E27FC236}">
                <a16:creationId xmlns:a16="http://schemas.microsoft.com/office/drawing/2014/main" id="{060FDBF3-CF81-4D5E-B044-7A3DE6FBF5C7}"/>
              </a:ext>
            </a:extLst>
          </p:cNvPr>
          <p:cNvSpPr txBox="1"/>
          <p:nvPr/>
        </p:nvSpPr>
        <p:spPr>
          <a:xfrm>
            <a:off x="7473057" y="1696512"/>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ج</a:t>
            </a:r>
          </a:p>
        </p:txBody>
      </p:sp>
      <p:cxnSp>
        <p:nvCxnSpPr>
          <p:cNvPr id="34" name="Straight Connector 33">
            <a:extLst>
              <a:ext uri="{FF2B5EF4-FFF2-40B4-BE49-F238E27FC236}">
                <a16:creationId xmlns:a16="http://schemas.microsoft.com/office/drawing/2014/main" id="{C0AD9469-5FB1-4490-B13E-F2413AE97861}"/>
              </a:ext>
            </a:extLst>
          </p:cNvPr>
          <p:cNvCxnSpPr>
            <a:cxnSpLocks/>
          </p:cNvCxnSpPr>
          <p:nvPr/>
        </p:nvCxnSpPr>
        <p:spPr>
          <a:xfrm flipH="1">
            <a:off x="7433052" y="176314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8773B07-123D-4B38-AF83-22788D9B448A}"/>
              </a:ext>
            </a:extLst>
          </p:cNvPr>
          <p:cNvGrpSpPr/>
          <p:nvPr/>
        </p:nvGrpSpPr>
        <p:grpSpPr>
          <a:xfrm>
            <a:off x="5590868" y="1695827"/>
            <a:ext cx="298671" cy="298671"/>
            <a:chOff x="-717193" y="3776686"/>
            <a:chExt cx="571500" cy="571500"/>
          </a:xfrm>
          <a:solidFill>
            <a:schemeClr val="bg1"/>
          </a:solidFill>
        </p:grpSpPr>
        <p:sp>
          <p:nvSpPr>
            <p:cNvPr id="36" name="Freeform: Shape 35">
              <a:extLst>
                <a:ext uri="{FF2B5EF4-FFF2-40B4-BE49-F238E27FC236}">
                  <a16:creationId xmlns:a16="http://schemas.microsoft.com/office/drawing/2014/main" id="{4F933399-814A-46D7-9666-338447D32ED5}"/>
                </a:ext>
              </a:extLst>
            </p:cNvPr>
            <p:cNvSpPr/>
            <p:nvPr/>
          </p:nvSpPr>
          <p:spPr>
            <a:xfrm>
              <a:off x="-679093" y="3814786"/>
              <a:ext cx="190500" cy="190500"/>
            </a:xfrm>
            <a:custGeom>
              <a:avLst/>
              <a:gdLst>
                <a:gd name="connsiteX0" fmla="*/ 95250 w 190500"/>
                <a:gd name="connsiteY0" fmla="*/ 190500 h 190500"/>
                <a:gd name="connsiteX1" fmla="*/ 120101 w 190500"/>
                <a:gd name="connsiteY1" fmla="*/ 187100 h 190500"/>
                <a:gd name="connsiteX2" fmla="*/ 120291 w 190500"/>
                <a:gd name="connsiteY2" fmla="*/ 187071 h 190500"/>
                <a:gd name="connsiteX3" fmla="*/ 120672 w 190500"/>
                <a:gd name="connsiteY3" fmla="*/ 186947 h 190500"/>
                <a:gd name="connsiteX4" fmla="*/ 127092 w 190500"/>
                <a:gd name="connsiteY4" fmla="*/ 184909 h 190500"/>
                <a:gd name="connsiteX5" fmla="*/ 128740 w 190500"/>
                <a:gd name="connsiteY5" fmla="*/ 184309 h 190500"/>
                <a:gd name="connsiteX6" fmla="*/ 134626 w 190500"/>
                <a:gd name="connsiteY6" fmla="*/ 181880 h 190500"/>
                <a:gd name="connsiteX7" fmla="*/ 136417 w 190500"/>
                <a:gd name="connsiteY7" fmla="*/ 181013 h 190500"/>
                <a:gd name="connsiteX8" fmla="*/ 141980 w 190500"/>
                <a:gd name="connsiteY8" fmla="*/ 178156 h 190500"/>
                <a:gd name="connsiteX9" fmla="*/ 143104 w 190500"/>
                <a:gd name="connsiteY9" fmla="*/ 177470 h 190500"/>
                <a:gd name="connsiteX10" fmla="*/ 154505 w 190500"/>
                <a:gd name="connsiteY10" fmla="*/ 169688 h 190500"/>
                <a:gd name="connsiteX11" fmla="*/ 154915 w 190500"/>
                <a:gd name="connsiteY11" fmla="*/ 169383 h 190500"/>
                <a:gd name="connsiteX12" fmla="*/ 158972 w 190500"/>
                <a:gd name="connsiteY12" fmla="*/ 165840 h 190500"/>
                <a:gd name="connsiteX13" fmla="*/ 161192 w 190500"/>
                <a:gd name="connsiteY13" fmla="*/ 163830 h 190500"/>
                <a:gd name="connsiteX14" fmla="*/ 164783 w 190500"/>
                <a:gd name="connsiteY14" fmla="*/ 160144 h 190500"/>
                <a:gd name="connsiteX15" fmla="*/ 166897 w 190500"/>
                <a:gd name="connsiteY15" fmla="*/ 157820 h 190500"/>
                <a:gd name="connsiteX16" fmla="*/ 170202 w 190500"/>
                <a:gd name="connsiteY16" fmla="*/ 153838 h 190500"/>
                <a:gd name="connsiteX17" fmla="*/ 171993 w 190500"/>
                <a:gd name="connsiteY17" fmla="*/ 151438 h 190500"/>
                <a:gd name="connsiteX18" fmla="*/ 175079 w 190500"/>
                <a:gd name="connsiteY18" fmla="*/ 147056 h 190500"/>
                <a:gd name="connsiteX19" fmla="*/ 176308 w 190500"/>
                <a:gd name="connsiteY19" fmla="*/ 145037 h 190500"/>
                <a:gd name="connsiteX20" fmla="*/ 184375 w 190500"/>
                <a:gd name="connsiteY20" fmla="*/ 128578 h 190500"/>
                <a:gd name="connsiteX21" fmla="*/ 185614 w 190500"/>
                <a:gd name="connsiteY21" fmla="*/ 125187 h 190500"/>
                <a:gd name="connsiteX22" fmla="*/ 186909 w 190500"/>
                <a:gd name="connsiteY22" fmla="*/ 120872 h 190500"/>
                <a:gd name="connsiteX23" fmla="*/ 187995 w 190500"/>
                <a:gd name="connsiteY23" fmla="*/ 116653 h 190500"/>
                <a:gd name="connsiteX24" fmla="*/ 188843 w 190500"/>
                <a:gd name="connsiteY24" fmla="*/ 112671 h 190500"/>
                <a:gd name="connsiteX25" fmla="*/ 189652 w 190500"/>
                <a:gd name="connsiteY25" fmla="*/ 107394 h 190500"/>
                <a:gd name="connsiteX26" fmla="*/ 190062 w 190500"/>
                <a:gd name="connsiteY26" fmla="*/ 104118 h 190500"/>
                <a:gd name="connsiteX27" fmla="*/ 190500 w 190500"/>
                <a:gd name="connsiteY27" fmla="*/ 95250 h 190500"/>
                <a:gd name="connsiteX28" fmla="*/ 95250 w 190500"/>
                <a:gd name="connsiteY28" fmla="*/ 0 h 190500"/>
                <a:gd name="connsiteX29" fmla="*/ 84211 w 190500"/>
                <a:gd name="connsiteY29" fmla="*/ 695 h 190500"/>
                <a:gd name="connsiteX30" fmla="*/ 81267 w 190500"/>
                <a:gd name="connsiteY30" fmla="*/ 1143 h 190500"/>
                <a:gd name="connsiteX31" fmla="*/ 73285 w 190500"/>
                <a:gd name="connsiteY31" fmla="*/ 2657 h 190500"/>
                <a:gd name="connsiteX32" fmla="*/ 69999 w 190500"/>
                <a:gd name="connsiteY32" fmla="*/ 3505 h 190500"/>
                <a:gd name="connsiteX33" fmla="*/ 62532 w 190500"/>
                <a:gd name="connsiteY33" fmla="*/ 5915 h 190500"/>
                <a:gd name="connsiteX34" fmla="*/ 59436 w 190500"/>
                <a:gd name="connsiteY34" fmla="*/ 7048 h 190500"/>
                <a:gd name="connsiteX35" fmla="*/ 50035 w 190500"/>
                <a:gd name="connsiteY35" fmla="*/ 11440 h 190500"/>
                <a:gd name="connsiteX36" fmla="*/ 49625 w 190500"/>
                <a:gd name="connsiteY36" fmla="*/ 11630 h 190500"/>
                <a:gd name="connsiteX37" fmla="*/ 49616 w 190500"/>
                <a:gd name="connsiteY37" fmla="*/ 11640 h 190500"/>
                <a:gd name="connsiteX38" fmla="*/ 48063 w 190500"/>
                <a:gd name="connsiteY38" fmla="*/ 12621 h 190500"/>
                <a:gd name="connsiteX39" fmla="*/ 40843 w 190500"/>
                <a:gd name="connsiteY39" fmla="*/ 17174 h 190500"/>
                <a:gd name="connsiteX40" fmla="*/ 37024 w 190500"/>
                <a:gd name="connsiteY40" fmla="*/ 20031 h 190500"/>
                <a:gd name="connsiteX41" fmla="*/ 32633 w 190500"/>
                <a:gd name="connsiteY41" fmla="*/ 23651 h 190500"/>
                <a:gd name="connsiteX42" fmla="*/ 28680 w 190500"/>
                <a:gd name="connsiteY42" fmla="*/ 27241 h 190500"/>
                <a:gd name="connsiteX43" fmla="*/ 25032 w 190500"/>
                <a:gd name="connsiteY43" fmla="*/ 31118 h 190500"/>
                <a:gd name="connsiteX44" fmla="*/ 19679 w 190500"/>
                <a:gd name="connsiteY44" fmla="*/ 37500 h 190500"/>
                <a:gd name="connsiteX45" fmla="*/ 15878 w 190500"/>
                <a:gd name="connsiteY45" fmla="*/ 42710 h 190500"/>
                <a:gd name="connsiteX46" fmla="*/ 13535 w 190500"/>
                <a:gd name="connsiteY46" fmla="*/ 46568 h 190500"/>
                <a:gd name="connsiteX47" fmla="*/ 10268 w 190500"/>
                <a:gd name="connsiteY47" fmla="*/ 52473 h 190500"/>
                <a:gd name="connsiteX48" fmla="*/ 8677 w 190500"/>
                <a:gd name="connsiteY48" fmla="*/ 55759 h 190500"/>
                <a:gd name="connsiteX49" fmla="*/ 5210 w 190500"/>
                <a:gd name="connsiteY49" fmla="*/ 64437 h 190500"/>
                <a:gd name="connsiteX50" fmla="*/ 4810 w 190500"/>
                <a:gd name="connsiteY50" fmla="*/ 65513 h 190500"/>
                <a:gd name="connsiteX51" fmla="*/ 324 w 190500"/>
                <a:gd name="connsiteY51" fmla="*/ 88754 h 190500"/>
                <a:gd name="connsiteX52" fmla="*/ 305 w 190500"/>
                <a:gd name="connsiteY52" fmla="*/ 88925 h 190500"/>
                <a:gd name="connsiteX53" fmla="*/ 314 w 190500"/>
                <a:gd name="connsiteY53" fmla="*/ 89002 h 190500"/>
                <a:gd name="connsiteX54" fmla="*/ 0 w 190500"/>
                <a:gd name="connsiteY54" fmla="*/ 95250 h 190500"/>
                <a:gd name="connsiteX55" fmla="*/ 95250 w 190500"/>
                <a:gd name="connsiteY55" fmla="*/ 190500 h 190500"/>
                <a:gd name="connsiteX56" fmla="*/ 24679 w 190500"/>
                <a:gd name="connsiteY56" fmla="*/ 66627 h 190500"/>
                <a:gd name="connsiteX57" fmla="*/ 26527 w 190500"/>
                <a:gd name="connsiteY57" fmla="*/ 62560 h 190500"/>
                <a:gd name="connsiteX58" fmla="*/ 27918 w 190500"/>
                <a:gd name="connsiteY58" fmla="*/ 59665 h 190500"/>
                <a:gd name="connsiteX59" fmla="*/ 29366 w 190500"/>
                <a:gd name="connsiteY59" fmla="*/ 57131 h 190500"/>
                <a:gd name="connsiteX60" fmla="*/ 31804 w 190500"/>
                <a:gd name="connsiteY60" fmla="*/ 53111 h 190500"/>
                <a:gd name="connsiteX61" fmla="*/ 32842 w 190500"/>
                <a:gd name="connsiteY61" fmla="*/ 51645 h 190500"/>
                <a:gd name="connsiteX62" fmla="*/ 36243 w 190500"/>
                <a:gd name="connsiteY62" fmla="*/ 47092 h 190500"/>
                <a:gd name="connsiteX63" fmla="*/ 37033 w 190500"/>
                <a:gd name="connsiteY63" fmla="*/ 46168 h 190500"/>
                <a:gd name="connsiteX64" fmla="*/ 41138 w 190500"/>
                <a:gd name="connsiteY64" fmla="*/ 41653 h 190500"/>
                <a:gd name="connsiteX65" fmla="*/ 41986 w 190500"/>
                <a:gd name="connsiteY65" fmla="*/ 40834 h 190500"/>
                <a:gd name="connsiteX66" fmla="*/ 46425 w 190500"/>
                <a:gd name="connsiteY66" fmla="*/ 36805 h 190500"/>
                <a:gd name="connsiteX67" fmla="*/ 47692 w 190500"/>
                <a:gd name="connsiteY67" fmla="*/ 35795 h 190500"/>
                <a:gd name="connsiteX68" fmla="*/ 50721 w 190500"/>
                <a:gd name="connsiteY68" fmla="*/ 33528 h 190500"/>
                <a:gd name="connsiteX69" fmla="*/ 59331 w 190500"/>
                <a:gd name="connsiteY69" fmla="*/ 49301 h 190500"/>
                <a:gd name="connsiteX70" fmla="*/ 78581 w 190500"/>
                <a:gd name="connsiteY70" fmla="*/ 84582 h 190500"/>
                <a:gd name="connsiteX71" fmla="*/ 20526 w 190500"/>
                <a:gd name="connsiteY71" fmla="*/ 80705 h 190500"/>
                <a:gd name="connsiteX72" fmla="*/ 24241 w 190500"/>
                <a:gd name="connsiteY72" fmla="*/ 67799 h 190500"/>
                <a:gd name="connsiteX73" fmla="*/ 24679 w 190500"/>
                <a:gd name="connsiteY73" fmla="*/ 66627 h 190500"/>
                <a:gd name="connsiteX74" fmla="*/ 19279 w 190500"/>
                <a:gd name="connsiteY74" fmla="*/ 99727 h 190500"/>
                <a:gd name="connsiteX75" fmla="*/ 87849 w 190500"/>
                <a:gd name="connsiteY75" fmla="*/ 104299 h 190500"/>
                <a:gd name="connsiteX76" fmla="*/ 105937 w 190500"/>
                <a:gd name="connsiteY76" fmla="*/ 170612 h 190500"/>
                <a:gd name="connsiteX77" fmla="*/ 95250 w 190500"/>
                <a:gd name="connsiteY77" fmla="*/ 171450 h 190500"/>
                <a:gd name="connsiteX78" fmla="*/ 19279 w 190500"/>
                <a:gd name="connsiteY78" fmla="*/ 99727 h 190500"/>
                <a:gd name="connsiteX79" fmla="*/ 171450 w 190500"/>
                <a:gd name="connsiteY79" fmla="*/ 95250 h 190500"/>
                <a:gd name="connsiteX80" fmla="*/ 170669 w 190500"/>
                <a:gd name="connsiteY80" fmla="*/ 105575 h 190500"/>
                <a:gd name="connsiteX81" fmla="*/ 170326 w 190500"/>
                <a:gd name="connsiteY81" fmla="*/ 107823 h 190500"/>
                <a:gd name="connsiteX82" fmla="*/ 164211 w 190500"/>
                <a:gd name="connsiteY82" fmla="*/ 127464 h 190500"/>
                <a:gd name="connsiteX83" fmla="*/ 163620 w 190500"/>
                <a:gd name="connsiteY83" fmla="*/ 128683 h 190500"/>
                <a:gd name="connsiteX84" fmla="*/ 151990 w 190500"/>
                <a:gd name="connsiteY84" fmla="*/ 145933 h 190500"/>
                <a:gd name="connsiteX85" fmla="*/ 151171 w 190500"/>
                <a:gd name="connsiteY85" fmla="*/ 146837 h 190500"/>
                <a:gd name="connsiteX86" fmla="*/ 134836 w 190500"/>
                <a:gd name="connsiteY86" fmla="*/ 160230 h 190500"/>
                <a:gd name="connsiteX87" fmla="*/ 134055 w 190500"/>
                <a:gd name="connsiteY87" fmla="*/ 160706 h 190500"/>
                <a:gd name="connsiteX88" fmla="*/ 124320 w 190500"/>
                <a:gd name="connsiteY88" fmla="*/ 165611 h 190500"/>
                <a:gd name="connsiteX89" fmla="*/ 104451 w 190500"/>
                <a:gd name="connsiteY89" fmla="*/ 92745 h 190500"/>
                <a:gd name="connsiteX90" fmla="*/ 103622 w 190500"/>
                <a:gd name="connsiteY90" fmla="*/ 90688 h 190500"/>
                <a:gd name="connsiteX91" fmla="*/ 67456 w 190500"/>
                <a:gd name="connsiteY91" fmla="*/ 24374 h 190500"/>
                <a:gd name="connsiteX92" fmla="*/ 70228 w 190500"/>
                <a:gd name="connsiteY92" fmla="*/ 23355 h 190500"/>
                <a:gd name="connsiteX93" fmla="*/ 73447 w 190500"/>
                <a:gd name="connsiteY93" fmla="*/ 22260 h 190500"/>
                <a:gd name="connsiteX94" fmla="*/ 77067 w 190500"/>
                <a:gd name="connsiteY94" fmla="*/ 21326 h 190500"/>
                <a:gd name="connsiteX95" fmla="*/ 80591 w 190500"/>
                <a:gd name="connsiteY95" fmla="*/ 20488 h 190500"/>
                <a:gd name="connsiteX96" fmla="*/ 84639 w 190500"/>
                <a:gd name="connsiteY96" fmla="*/ 19869 h 190500"/>
                <a:gd name="connsiteX97" fmla="*/ 87849 w 190500"/>
                <a:gd name="connsiteY97" fmla="*/ 19412 h 190500"/>
                <a:gd name="connsiteX98" fmla="*/ 95250 w 190500"/>
                <a:gd name="connsiteY98" fmla="*/ 19050 h 190500"/>
                <a:gd name="connsiteX99" fmla="*/ 171450 w 190500"/>
                <a:gd name="connsiteY99" fmla="*/ 952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0500" h="190500">
                  <a:moveTo>
                    <a:pt x="95250" y="190500"/>
                  </a:moveTo>
                  <a:cubicBezTo>
                    <a:pt x="103861" y="190500"/>
                    <a:pt x="112166" y="189252"/>
                    <a:pt x="120101" y="187100"/>
                  </a:cubicBezTo>
                  <a:cubicBezTo>
                    <a:pt x="120167" y="187081"/>
                    <a:pt x="120225" y="187090"/>
                    <a:pt x="120291" y="187071"/>
                  </a:cubicBezTo>
                  <a:cubicBezTo>
                    <a:pt x="120425" y="187033"/>
                    <a:pt x="120539" y="186985"/>
                    <a:pt x="120672" y="186947"/>
                  </a:cubicBezTo>
                  <a:cubicBezTo>
                    <a:pt x="122844" y="186347"/>
                    <a:pt x="124978" y="185661"/>
                    <a:pt x="127092" y="184909"/>
                  </a:cubicBezTo>
                  <a:cubicBezTo>
                    <a:pt x="127645" y="184709"/>
                    <a:pt x="128197" y="184509"/>
                    <a:pt x="128740" y="184309"/>
                  </a:cubicBezTo>
                  <a:cubicBezTo>
                    <a:pt x="130731" y="183556"/>
                    <a:pt x="132702" y="182756"/>
                    <a:pt x="134626" y="181880"/>
                  </a:cubicBezTo>
                  <a:cubicBezTo>
                    <a:pt x="135226" y="181604"/>
                    <a:pt x="135817" y="181308"/>
                    <a:pt x="136417" y="181013"/>
                  </a:cubicBezTo>
                  <a:cubicBezTo>
                    <a:pt x="138303" y="180108"/>
                    <a:pt x="140170" y="179184"/>
                    <a:pt x="141980" y="178156"/>
                  </a:cubicBezTo>
                  <a:cubicBezTo>
                    <a:pt x="142361" y="177937"/>
                    <a:pt x="142723" y="177689"/>
                    <a:pt x="143104" y="177470"/>
                  </a:cubicBezTo>
                  <a:cubicBezTo>
                    <a:pt x="147095" y="175136"/>
                    <a:pt x="150914" y="172555"/>
                    <a:pt x="154505" y="169688"/>
                  </a:cubicBezTo>
                  <a:cubicBezTo>
                    <a:pt x="154638" y="169583"/>
                    <a:pt x="154781" y="169488"/>
                    <a:pt x="154915" y="169383"/>
                  </a:cubicBezTo>
                  <a:cubicBezTo>
                    <a:pt x="156315" y="168259"/>
                    <a:pt x="157639" y="167049"/>
                    <a:pt x="158972" y="165840"/>
                  </a:cubicBezTo>
                  <a:cubicBezTo>
                    <a:pt x="159715" y="165173"/>
                    <a:pt x="160468" y="164516"/>
                    <a:pt x="161192" y="163830"/>
                  </a:cubicBezTo>
                  <a:cubicBezTo>
                    <a:pt x="162430" y="162639"/>
                    <a:pt x="163611" y="161401"/>
                    <a:pt x="164783" y="160144"/>
                  </a:cubicBezTo>
                  <a:cubicBezTo>
                    <a:pt x="165497" y="159372"/>
                    <a:pt x="166211" y="158610"/>
                    <a:pt x="166897" y="157820"/>
                  </a:cubicBezTo>
                  <a:cubicBezTo>
                    <a:pt x="168031" y="156524"/>
                    <a:pt x="169135" y="155200"/>
                    <a:pt x="170202" y="153838"/>
                  </a:cubicBezTo>
                  <a:cubicBezTo>
                    <a:pt x="170821" y="153048"/>
                    <a:pt x="171402" y="152248"/>
                    <a:pt x="171993" y="151438"/>
                  </a:cubicBezTo>
                  <a:cubicBezTo>
                    <a:pt x="173050" y="150000"/>
                    <a:pt x="174098" y="148552"/>
                    <a:pt x="175079" y="147056"/>
                  </a:cubicBezTo>
                  <a:cubicBezTo>
                    <a:pt x="175508" y="146399"/>
                    <a:pt x="175898" y="145704"/>
                    <a:pt x="176308" y="145037"/>
                  </a:cubicBezTo>
                  <a:cubicBezTo>
                    <a:pt x="179508" y="139856"/>
                    <a:pt x="182204" y="134350"/>
                    <a:pt x="184375" y="128578"/>
                  </a:cubicBezTo>
                  <a:cubicBezTo>
                    <a:pt x="184795" y="127454"/>
                    <a:pt x="185233" y="126330"/>
                    <a:pt x="185614" y="125187"/>
                  </a:cubicBezTo>
                  <a:cubicBezTo>
                    <a:pt x="186090" y="123768"/>
                    <a:pt x="186500" y="122320"/>
                    <a:pt x="186909" y="120872"/>
                  </a:cubicBezTo>
                  <a:cubicBezTo>
                    <a:pt x="187300" y="119472"/>
                    <a:pt x="187671" y="118072"/>
                    <a:pt x="187995" y="116653"/>
                  </a:cubicBezTo>
                  <a:cubicBezTo>
                    <a:pt x="188300" y="115329"/>
                    <a:pt x="188585" y="114014"/>
                    <a:pt x="188843" y="112671"/>
                  </a:cubicBezTo>
                  <a:cubicBezTo>
                    <a:pt x="189167" y="110928"/>
                    <a:pt x="189424" y="109166"/>
                    <a:pt x="189652" y="107394"/>
                  </a:cubicBezTo>
                  <a:cubicBezTo>
                    <a:pt x="189795" y="106299"/>
                    <a:pt x="189967" y="105223"/>
                    <a:pt x="190062" y="104118"/>
                  </a:cubicBezTo>
                  <a:cubicBezTo>
                    <a:pt x="190329" y="101194"/>
                    <a:pt x="190500" y="98241"/>
                    <a:pt x="190500" y="95250"/>
                  </a:cubicBezTo>
                  <a:cubicBezTo>
                    <a:pt x="190500" y="42729"/>
                    <a:pt x="147771" y="0"/>
                    <a:pt x="95250" y="0"/>
                  </a:cubicBezTo>
                  <a:cubicBezTo>
                    <a:pt x="91507" y="0"/>
                    <a:pt x="87840" y="276"/>
                    <a:pt x="84211" y="695"/>
                  </a:cubicBezTo>
                  <a:cubicBezTo>
                    <a:pt x="83220" y="810"/>
                    <a:pt x="82248" y="1000"/>
                    <a:pt x="81267" y="1143"/>
                  </a:cubicBezTo>
                  <a:cubicBezTo>
                    <a:pt x="78572" y="1543"/>
                    <a:pt x="75905" y="2038"/>
                    <a:pt x="73285" y="2657"/>
                  </a:cubicBezTo>
                  <a:cubicBezTo>
                    <a:pt x="72180" y="2915"/>
                    <a:pt x="71095" y="3200"/>
                    <a:pt x="69999" y="3505"/>
                  </a:cubicBezTo>
                  <a:cubicBezTo>
                    <a:pt x="67466" y="4201"/>
                    <a:pt x="64980" y="5010"/>
                    <a:pt x="62532" y="5915"/>
                  </a:cubicBezTo>
                  <a:cubicBezTo>
                    <a:pt x="61503" y="6296"/>
                    <a:pt x="60455" y="6639"/>
                    <a:pt x="59436" y="7048"/>
                  </a:cubicBezTo>
                  <a:cubicBezTo>
                    <a:pt x="56217" y="8363"/>
                    <a:pt x="53064" y="9801"/>
                    <a:pt x="50035" y="11440"/>
                  </a:cubicBezTo>
                  <a:cubicBezTo>
                    <a:pt x="49901" y="11516"/>
                    <a:pt x="49759" y="11563"/>
                    <a:pt x="49625" y="11630"/>
                  </a:cubicBezTo>
                  <a:cubicBezTo>
                    <a:pt x="49616" y="11630"/>
                    <a:pt x="49616" y="11640"/>
                    <a:pt x="49616" y="11640"/>
                  </a:cubicBezTo>
                  <a:cubicBezTo>
                    <a:pt x="49073" y="11935"/>
                    <a:pt x="48597" y="12316"/>
                    <a:pt x="48063" y="12621"/>
                  </a:cubicBezTo>
                  <a:cubicBezTo>
                    <a:pt x="45587" y="14040"/>
                    <a:pt x="43177" y="15545"/>
                    <a:pt x="40843" y="17174"/>
                  </a:cubicBezTo>
                  <a:cubicBezTo>
                    <a:pt x="39529" y="18088"/>
                    <a:pt x="38281" y="19060"/>
                    <a:pt x="37024" y="20031"/>
                  </a:cubicBezTo>
                  <a:cubicBezTo>
                    <a:pt x="35528" y="21193"/>
                    <a:pt x="34061" y="22403"/>
                    <a:pt x="32633" y="23651"/>
                  </a:cubicBezTo>
                  <a:cubicBezTo>
                    <a:pt x="31290" y="24832"/>
                    <a:pt x="29956" y="26003"/>
                    <a:pt x="28680" y="27241"/>
                  </a:cubicBezTo>
                  <a:cubicBezTo>
                    <a:pt x="27413" y="28480"/>
                    <a:pt x="26222" y="29804"/>
                    <a:pt x="25032" y="31118"/>
                  </a:cubicBezTo>
                  <a:cubicBezTo>
                    <a:pt x="23155" y="33176"/>
                    <a:pt x="21365" y="35290"/>
                    <a:pt x="19679" y="37500"/>
                  </a:cubicBezTo>
                  <a:cubicBezTo>
                    <a:pt x="18374" y="39205"/>
                    <a:pt x="17069" y="40919"/>
                    <a:pt x="15878" y="42710"/>
                  </a:cubicBezTo>
                  <a:cubicBezTo>
                    <a:pt x="15049" y="43967"/>
                    <a:pt x="14307" y="45272"/>
                    <a:pt x="13535" y="46568"/>
                  </a:cubicBezTo>
                  <a:cubicBezTo>
                    <a:pt x="12383" y="48501"/>
                    <a:pt x="11287" y="50463"/>
                    <a:pt x="10268" y="52473"/>
                  </a:cubicBezTo>
                  <a:cubicBezTo>
                    <a:pt x="9725" y="53559"/>
                    <a:pt x="9182" y="54645"/>
                    <a:pt x="8677" y="55759"/>
                  </a:cubicBezTo>
                  <a:cubicBezTo>
                    <a:pt x="7382" y="58588"/>
                    <a:pt x="6229" y="61474"/>
                    <a:pt x="5210" y="64437"/>
                  </a:cubicBezTo>
                  <a:cubicBezTo>
                    <a:pt x="5086" y="64799"/>
                    <a:pt x="4934" y="65151"/>
                    <a:pt x="4810" y="65513"/>
                  </a:cubicBezTo>
                  <a:cubicBezTo>
                    <a:pt x="2372" y="72904"/>
                    <a:pt x="867" y="80696"/>
                    <a:pt x="324" y="88754"/>
                  </a:cubicBezTo>
                  <a:cubicBezTo>
                    <a:pt x="324" y="88811"/>
                    <a:pt x="305" y="88868"/>
                    <a:pt x="305" y="88925"/>
                  </a:cubicBezTo>
                  <a:cubicBezTo>
                    <a:pt x="305" y="88954"/>
                    <a:pt x="314" y="88973"/>
                    <a:pt x="314" y="89002"/>
                  </a:cubicBezTo>
                  <a:cubicBezTo>
                    <a:pt x="181" y="91078"/>
                    <a:pt x="0" y="93135"/>
                    <a:pt x="0" y="95250"/>
                  </a:cubicBezTo>
                  <a:cubicBezTo>
                    <a:pt x="0" y="147771"/>
                    <a:pt x="42729" y="190500"/>
                    <a:pt x="95250" y="190500"/>
                  </a:cubicBezTo>
                  <a:close/>
                  <a:moveTo>
                    <a:pt x="24679" y="66627"/>
                  </a:moveTo>
                  <a:cubicBezTo>
                    <a:pt x="25232" y="65237"/>
                    <a:pt x="25889" y="63903"/>
                    <a:pt x="26527" y="62560"/>
                  </a:cubicBezTo>
                  <a:cubicBezTo>
                    <a:pt x="26984" y="61598"/>
                    <a:pt x="27422" y="60608"/>
                    <a:pt x="27918" y="59665"/>
                  </a:cubicBezTo>
                  <a:cubicBezTo>
                    <a:pt x="28375" y="58798"/>
                    <a:pt x="28880" y="57979"/>
                    <a:pt x="29366" y="57131"/>
                  </a:cubicBezTo>
                  <a:cubicBezTo>
                    <a:pt x="30156" y="55778"/>
                    <a:pt x="30937" y="54416"/>
                    <a:pt x="31804" y="53111"/>
                  </a:cubicBezTo>
                  <a:cubicBezTo>
                    <a:pt x="32137" y="52616"/>
                    <a:pt x="32499" y="52140"/>
                    <a:pt x="32842" y="51645"/>
                  </a:cubicBezTo>
                  <a:cubicBezTo>
                    <a:pt x="33928" y="50092"/>
                    <a:pt x="35052" y="48558"/>
                    <a:pt x="36243" y="47092"/>
                  </a:cubicBezTo>
                  <a:cubicBezTo>
                    <a:pt x="36500" y="46777"/>
                    <a:pt x="36776" y="46482"/>
                    <a:pt x="37033" y="46168"/>
                  </a:cubicBezTo>
                  <a:cubicBezTo>
                    <a:pt x="38348" y="44615"/>
                    <a:pt x="39710" y="43101"/>
                    <a:pt x="41138" y="41653"/>
                  </a:cubicBezTo>
                  <a:cubicBezTo>
                    <a:pt x="41415" y="41377"/>
                    <a:pt x="41710" y="41110"/>
                    <a:pt x="41986" y="40834"/>
                  </a:cubicBezTo>
                  <a:cubicBezTo>
                    <a:pt x="43415" y="39434"/>
                    <a:pt x="44891" y="38081"/>
                    <a:pt x="46425" y="36805"/>
                  </a:cubicBezTo>
                  <a:cubicBezTo>
                    <a:pt x="46834" y="36462"/>
                    <a:pt x="47273" y="36138"/>
                    <a:pt x="47692" y="35795"/>
                  </a:cubicBezTo>
                  <a:cubicBezTo>
                    <a:pt x="48673" y="35004"/>
                    <a:pt x="49701" y="34271"/>
                    <a:pt x="50721" y="33528"/>
                  </a:cubicBezTo>
                  <a:lnTo>
                    <a:pt x="59331" y="49301"/>
                  </a:lnTo>
                  <a:lnTo>
                    <a:pt x="78581" y="84582"/>
                  </a:lnTo>
                  <a:lnTo>
                    <a:pt x="20526" y="80705"/>
                  </a:lnTo>
                  <a:cubicBezTo>
                    <a:pt x="21374" y="76257"/>
                    <a:pt x="22650" y="71952"/>
                    <a:pt x="24241" y="67799"/>
                  </a:cubicBezTo>
                  <a:cubicBezTo>
                    <a:pt x="24394" y="67418"/>
                    <a:pt x="24517" y="67018"/>
                    <a:pt x="24679" y="66627"/>
                  </a:cubicBezTo>
                  <a:close/>
                  <a:moveTo>
                    <a:pt x="19279" y="99727"/>
                  </a:moveTo>
                  <a:lnTo>
                    <a:pt x="87849" y="104299"/>
                  </a:lnTo>
                  <a:lnTo>
                    <a:pt x="105937" y="170612"/>
                  </a:lnTo>
                  <a:cubicBezTo>
                    <a:pt x="102432" y="171107"/>
                    <a:pt x="98889" y="171450"/>
                    <a:pt x="95250" y="171450"/>
                  </a:cubicBezTo>
                  <a:cubicBezTo>
                    <a:pt x="54750" y="171450"/>
                    <a:pt x="21612" y="139656"/>
                    <a:pt x="19279" y="99727"/>
                  </a:cubicBezTo>
                  <a:close/>
                  <a:moveTo>
                    <a:pt x="171450" y="95250"/>
                  </a:moveTo>
                  <a:cubicBezTo>
                    <a:pt x="171450" y="98746"/>
                    <a:pt x="171136" y="102184"/>
                    <a:pt x="170669" y="105575"/>
                  </a:cubicBezTo>
                  <a:cubicBezTo>
                    <a:pt x="170564" y="106328"/>
                    <a:pt x="170450" y="107080"/>
                    <a:pt x="170326" y="107823"/>
                  </a:cubicBezTo>
                  <a:cubicBezTo>
                    <a:pt x="169164" y="114691"/>
                    <a:pt x="167107" y="121291"/>
                    <a:pt x="164211" y="127464"/>
                  </a:cubicBezTo>
                  <a:cubicBezTo>
                    <a:pt x="164021" y="127873"/>
                    <a:pt x="163820" y="128283"/>
                    <a:pt x="163620" y="128683"/>
                  </a:cubicBezTo>
                  <a:cubicBezTo>
                    <a:pt x="160544" y="134941"/>
                    <a:pt x="156629" y="140751"/>
                    <a:pt x="151990" y="145933"/>
                  </a:cubicBezTo>
                  <a:cubicBezTo>
                    <a:pt x="151714" y="146237"/>
                    <a:pt x="151448" y="146542"/>
                    <a:pt x="151171" y="146837"/>
                  </a:cubicBezTo>
                  <a:cubicBezTo>
                    <a:pt x="146399" y="152000"/>
                    <a:pt x="140922" y="156524"/>
                    <a:pt x="134836" y="160230"/>
                  </a:cubicBezTo>
                  <a:cubicBezTo>
                    <a:pt x="134579" y="160391"/>
                    <a:pt x="134322" y="160544"/>
                    <a:pt x="134055" y="160706"/>
                  </a:cubicBezTo>
                  <a:cubicBezTo>
                    <a:pt x="130950" y="162554"/>
                    <a:pt x="127711" y="164211"/>
                    <a:pt x="124320" y="165611"/>
                  </a:cubicBezTo>
                  <a:lnTo>
                    <a:pt x="104451" y="92745"/>
                  </a:lnTo>
                  <a:cubicBezTo>
                    <a:pt x="104251" y="92031"/>
                    <a:pt x="103975" y="91345"/>
                    <a:pt x="103622" y="90688"/>
                  </a:cubicBezTo>
                  <a:lnTo>
                    <a:pt x="67456" y="24374"/>
                  </a:lnTo>
                  <a:cubicBezTo>
                    <a:pt x="68370" y="24013"/>
                    <a:pt x="69294" y="23679"/>
                    <a:pt x="70228" y="23355"/>
                  </a:cubicBezTo>
                  <a:cubicBezTo>
                    <a:pt x="71295" y="22984"/>
                    <a:pt x="72361" y="22584"/>
                    <a:pt x="73447" y="22260"/>
                  </a:cubicBezTo>
                  <a:cubicBezTo>
                    <a:pt x="74638" y="21908"/>
                    <a:pt x="75857" y="21622"/>
                    <a:pt x="77067" y="21326"/>
                  </a:cubicBezTo>
                  <a:cubicBezTo>
                    <a:pt x="78238" y="21041"/>
                    <a:pt x="79410" y="20717"/>
                    <a:pt x="80591" y="20488"/>
                  </a:cubicBezTo>
                  <a:cubicBezTo>
                    <a:pt x="81925" y="20231"/>
                    <a:pt x="83287" y="20060"/>
                    <a:pt x="84639" y="19869"/>
                  </a:cubicBezTo>
                  <a:cubicBezTo>
                    <a:pt x="85706" y="19717"/>
                    <a:pt x="86773" y="19517"/>
                    <a:pt x="87849" y="19412"/>
                  </a:cubicBezTo>
                  <a:cubicBezTo>
                    <a:pt x="90278" y="19193"/>
                    <a:pt x="92745" y="19050"/>
                    <a:pt x="95250" y="19050"/>
                  </a:cubicBezTo>
                  <a:cubicBezTo>
                    <a:pt x="137265" y="19050"/>
                    <a:pt x="171450" y="53235"/>
                    <a:pt x="171450" y="95250"/>
                  </a:cubicBezTo>
                  <a:close/>
                </a:path>
              </a:pathLst>
            </a:custGeom>
            <a:grpFill/>
            <a:ln w="3175" cap="flat">
              <a:solidFill>
                <a:schemeClr val="bg1"/>
              </a:solidFill>
              <a:prstDash val="solid"/>
              <a:miter/>
            </a:ln>
          </p:spPr>
          <p:txBody>
            <a:bodyPr rtlCol="0" anchor="ctr"/>
            <a:lstStyle/>
            <a:p>
              <a:pPr algn="r" rtl="1"/>
              <a:endParaRPr lang="en-US"/>
            </a:p>
          </p:txBody>
        </p:sp>
        <p:sp>
          <p:nvSpPr>
            <p:cNvPr id="37" name="Freeform: Shape 36">
              <a:extLst>
                <a:ext uri="{FF2B5EF4-FFF2-40B4-BE49-F238E27FC236}">
                  <a16:creationId xmlns:a16="http://schemas.microsoft.com/office/drawing/2014/main" id="{180C73F2-29BC-4D32-A0A3-AE5319F9F9C1}"/>
                </a:ext>
              </a:extLst>
            </p:cNvPr>
            <p:cNvSpPr/>
            <p:nvPr/>
          </p:nvSpPr>
          <p:spPr>
            <a:xfrm>
              <a:off x="-717193" y="3776686"/>
              <a:ext cx="571500" cy="571500"/>
            </a:xfrm>
            <a:custGeom>
              <a:avLst/>
              <a:gdLst>
                <a:gd name="connsiteX0" fmla="*/ 523875 w 571500"/>
                <a:gd name="connsiteY0" fmla="*/ 0 h 571500"/>
                <a:gd name="connsiteX1" fmla="*/ 47625 w 571500"/>
                <a:gd name="connsiteY1" fmla="*/ 0 h 571500"/>
                <a:gd name="connsiteX2" fmla="*/ 0 w 571500"/>
                <a:gd name="connsiteY2" fmla="*/ 47625 h 571500"/>
                <a:gd name="connsiteX3" fmla="*/ 0 w 571500"/>
                <a:gd name="connsiteY3" fmla="*/ 390525 h 571500"/>
                <a:gd name="connsiteX4" fmla="*/ 0 w 571500"/>
                <a:gd name="connsiteY4" fmla="*/ 409575 h 571500"/>
                <a:gd name="connsiteX5" fmla="*/ 47625 w 571500"/>
                <a:gd name="connsiteY5" fmla="*/ 457200 h 571500"/>
                <a:gd name="connsiteX6" fmla="*/ 257175 w 571500"/>
                <a:gd name="connsiteY6" fmla="*/ 457200 h 571500"/>
                <a:gd name="connsiteX7" fmla="*/ 257175 w 571500"/>
                <a:gd name="connsiteY7" fmla="*/ 495300 h 571500"/>
                <a:gd name="connsiteX8" fmla="*/ 180975 w 571500"/>
                <a:gd name="connsiteY8" fmla="*/ 495300 h 571500"/>
                <a:gd name="connsiteX9" fmla="*/ 133350 w 571500"/>
                <a:gd name="connsiteY9" fmla="*/ 542925 h 571500"/>
                <a:gd name="connsiteX10" fmla="*/ 133350 w 571500"/>
                <a:gd name="connsiteY10" fmla="*/ 561975 h 571500"/>
                <a:gd name="connsiteX11" fmla="*/ 142875 w 571500"/>
                <a:gd name="connsiteY11" fmla="*/ 571500 h 571500"/>
                <a:gd name="connsiteX12" fmla="*/ 428625 w 571500"/>
                <a:gd name="connsiteY12" fmla="*/ 571500 h 571500"/>
                <a:gd name="connsiteX13" fmla="*/ 438150 w 571500"/>
                <a:gd name="connsiteY13" fmla="*/ 561975 h 571500"/>
                <a:gd name="connsiteX14" fmla="*/ 438150 w 571500"/>
                <a:gd name="connsiteY14" fmla="*/ 542925 h 571500"/>
                <a:gd name="connsiteX15" fmla="*/ 390525 w 571500"/>
                <a:gd name="connsiteY15" fmla="*/ 495300 h 571500"/>
                <a:gd name="connsiteX16" fmla="*/ 314325 w 571500"/>
                <a:gd name="connsiteY16" fmla="*/ 495300 h 571500"/>
                <a:gd name="connsiteX17" fmla="*/ 314325 w 571500"/>
                <a:gd name="connsiteY17" fmla="*/ 457200 h 571500"/>
                <a:gd name="connsiteX18" fmla="*/ 523875 w 571500"/>
                <a:gd name="connsiteY18" fmla="*/ 457200 h 571500"/>
                <a:gd name="connsiteX19" fmla="*/ 571500 w 571500"/>
                <a:gd name="connsiteY19" fmla="*/ 409575 h 571500"/>
                <a:gd name="connsiteX20" fmla="*/ 571500 w 571500"/>
                <a:gd name="connsiteY20" fmla="*/ 390525 h 571500"/>
                <a:gd name="connsiteX21" fmla="*/ 571500 w 571500"/>
                <a:gd name="connsiteY21" fmla="*/ 47625 h 571500"/>
                <a:gd name="connsiteX22" fmla="*/ 523875 w 571500"/>
                <a:gd name="connsiteY22" fmla="*/ 0 h 571500"/>
                <a:gd name="connsiteX23" fmla="*/ 47625 w 571500"/>
                <a:gd name="connsiteY23" fmla="*/ 19050 h 571500"/>
                <a:gd name="connsiteX24" fmla="*/ 523875 w 571500"/>
                <a:gd name="connsiteY24" fmla="*/ 19050 h 571500"/>
                <a:gd name="connsiteX25" fmla="*/ 552450 w 571500"/>
                <a:gd name="connsiteY25" fmla="*/ 47625 h 571500"/>
                <a:gd name="connsiteX26" fmla="*/ 552450 w 571500"/>
                <a:gd name="connsiteY26" fmla="*/ 381000 h 571500"/>
                <a:gd name="connsiteX27" fmla="*/ 19050 w 571500"/>
                <a:gd name="connsiteY27" fmla="*/ 381000 h 571500"/>
                <a:gd name="connsiteX28" fmla="*/ 19050 w 571500"/>
                <a:gd name="connsiteY28" fmla="*/ 47625 h 571500"/>
                <a:gd name="connsiteX29" fmla="*/ 47625 w 571500"/>
                <a:gd name="connsiteY29" fmla="*/ 19050 h 571500"/>
                <a:gd name="connsiteX30" fmla="*/ 419100 w 571500"/>
                <a:gd name="connsiteY30" fmla="*/ 542925 h 571500"/>
                <a:gd name="connsiteX31" fmla="*/ 419100 w 571500"/>
                <a:gd name="connsiteY31" fmla="*/ 552450 h 571500"/>
                <a:gd name="connsiteX32" fmla="*/ 152400 w 571500"/>
                <a:gd name="connsiteY32" fmla="*/ 552450 h 571500"/>
                <a:gd name="connsiteX33" fmla="*/ 152400 w 571500"/>
                <a:gd name="connsiteY33" fmla="*/ 542925 h 571500"/>
                <a:gd name="connsiteX34" fmla="*/ 180975 w 571500"/>
                <a:gd name="connsiteY34" fmla="*/ 514350 h 571500"/>
                <a:gd name="connsiteX35" fmla="*/ 266700 w 571500"/>
                <a:gd name="connsiteY35" fmla="*/ 514350 h 571500"/>
                <a:gd name="connsiteX36" fmla="*/ 304800 w 571500"/>
                <a:gd name="connsiteY36" fmla="*/ 514350 h 571500"/>
                <a:gd name="connsiteX37" fmla="*/ 390525 w 571500"/>
                <a:gd name="connsiteY37" fmla="*/ 514350 h 571500"/>
                <a:gd name="connsiteX38" fmla="*/ 419100 w 571500"/>
                <a:gd name="connsiteY38" fmla="*/ 542925 h 571500"/>
                <a:gd name="connsiteX39" fmla="*/ 295275 w 571500"/>
                <a:gd name="connsiteY39" fmla="*/ 495300 h 571500"/>
                <a:gd name="connsiteX40" fmla="*/ 276225 w 571500"/>
                <a:gd name="connsiteY40" fmla="*/ 495300 h 571500"/>
                <a:gd name="connsiteX41" fmla="*/ 276225 w 571500"/>
                <a:gd name="connsiteY41" fmla="*/ 457200 h 571500"/>
                <a:gd name="connsiteX42" fmla="*/ 295275 w 571500"/>
                <a:gd name="connsiteY42" fmla="*/ 457200 h 571500"/>
                <a:gd name="connsiteX43" fmla="*/ 295275 w 571500"/>
                <a:gd name="connsiteY43" fmla="*/ 495300 h 571500"/>
                <a:gd name="connsiteX44" fmla="*/ 552450 w 571500"/>
                <a:gd name="connsiteY44" fmla="*/ 409575 h 571500"/>
                <a:gd name="connsiteX45" fmla="*/ 523875 w 571500"/>
                <a:gd name="connsiteY45" fmla="*/ 438150 h 571500"/>
                <a:gd name="connsiteX46" fmla="*/ 304800 w 571500"/>
                <a:gd name="connsiteY46" fmla="*/ 438150 h 571500"/>
                <a:gd name="connsiteX47" fmla="*/ 266700 w 571500"/>
                <a:gd name="connsiteY47" fmla="*/ 438150 h 571500"/>
                <a:gd name="connsiteX48" fmla="*/ 47625 w 571500"/>
                <a:gd name="connsiteY48" fmla="*/ 438150 h 571500"/>
                <a:gd name="connsiteX49" fmla="*/ 19050 w 571500"/>
                <a:gd name="connsiteY49" fmla="*/ 409575 h 571500"/>
                <a:gd name="connsiteX50" fmla="*/ 19050 w 571500"/>
                <a:gd name="connsiteY50" fmla="*/ 400050 h 571500"/>
                <a:gd name="connsiteX51" fmla="*/ 552450 w 571500"/>
                <a:gd name="connsiteY51" fmla="*/ 400050 h 571500"/>
                <a:gd name="connsiteX52" fmla="*/ 552450 w 571500"/>
                <a:gd name="connsiteY52" fmla="*/ 40957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71500" h="571500">
                  <a:moveTo>
                    <a:pt x="523875" y="0"/>
                  </a:moveTo>
                  <a:lnTo>
                    <a:pt x="47625" y="0"/>
                  </a:lnTo>
                  <a:cubicBezTo>
                    <a:pt x="21365" y="0"/>
                    <a:pt x="0" y="21365"/>
                    <a:pt x="0" y="47625"/>
                  </a:cubicBezTo>
                  <a:lnTo>
                    <a:pt x="0" y="390525"/>
                  </a:lnTo>
                  <a:lnTo>
                    <a:pt x="0" y="409575"/>
                  </a:lnTo>
                  <a:cubicBezTo>
                    <a:pt x="0" y="435835"/>
                    <a:pt x="21365" y="457200"/>
                    <a:pt x="47625" y="457200"/>
                  </a:cubicBezTo>
                  <a:lnTo>
                    <a:pt x="257175" y="457200"/>
                  </a:lnTo>
                  <a:lnTo>
                    <a:pt x="257175" y="495300"/>
                  </a:lnTo>
                  <a:lnTo>
                    <a:pt x="180975" y="495300"/>
                  </a:lnTo>
                  <a:cubicBezTo>
                    <a:pt x="154715" y="495300"/>
                    <a:pt x="133350" y="516665"/>
                    <a:pt x="133350" y="542925"/>
                  </a:cubicBezTo>
                  <a:lnTo>
                    <a:pt x="133350" y="561975"/>
                  </a:lnTo>
                  <a:cubicBezTo>
                    <a:pt x="133350" y="567233"/>
                    <a:pt x="137617" y="571500"/>
                    <a:pt x="142875" y="571500"/>
                  </a:cubicBezTo>
                  <a:lnTo>
                    <a:pt x="428625" y="571500"/>
                  </a:lnTo>
                  <a:cubicBezTo>
                    <a:pt x="433883" y="571500"/>
                    <a:pt x="438150" y="567233"/>
                    <a:pt x="438150" y="561975"/>
                  </a:cubicBezTo>
                  <a:lnTo>
                    <a:pt x="438150" y="542925"/>
                  </a:lnTo>
                  <a:cubicBezTo>
                    <a:pt x="438150" y="516665"/>
                    <a:pt x="416785" y="495300"/>
                    <a:pt x="390525" y="495300"/>
                  </a:cubicBezTo>
                  <a:lnTo>
                    <a:pt x="314325" y="495300"/>
                  </a:lnTo>
                  <a:lnTo>
                    <a:pt x="314325" y="457200"/>
                  </a:lnTo>
                  <a:lnTo>
                    <a:pt x="523875" y="457200"/>
                  </a:lnTo>
                  <a:cubicBezTo>
                    <a:pt x="550135" y="457200"/>
                    <a:pt x="571500" y="435835"/>
                    <a:pt x="571500" y="409575"/>
                  </a:cubicBezTo>
                  <a:lnTo>
                    <a:pt x="571500" y="390525"/>
                  </a:lnTo>
                  <a:lnTo>
                    <a:pt x="571500" y="47625"/>
                  </a:lnTo>
                  <a:cubicBezTo>
                    <a:pt x="571500" y="21365"/>
                    <a:pt x="550135" y="0"/>
                    <a:pt x="523875" y="0"/>
                  </a:cubicBezTo>
                  <a:close/>
                  <a:moveTo>
                    <a:pt x="47625" y="19050"/>
                  </a:moveTo>
                  <a:lnTo>
                    <a:pt x="523875" y="19050"/>
                  </a:lnTo>
                  <a:cubicBezTo>
                    <a:pt x="539629" y="19050"/>
                    <a:pt x="552450" y="31871"/>
                    <a:pt x="552450" y="47625"/>
                  </a:cubicBezTo>
                  <a:lnTo>
                    <a:pt x="552450" y="381000"/>
                  </a:lnTo>
                  <a:lnTo>
                    <a:pt x="19050" y="381000"/>
                  </a:lnTo>
                  <a:lnTo>
                    <a:pt x="19050" y="47625"/>
                  </a:lnTo>
                  <a:cubicBezTo>
                    <a:pt x="19050" y="31871"/>
                    <a:pt x="31871" y="19050"/>
                    <a:pt x="47625" y="19050"/>
                  </a:cubicBezTo>
                  <a:close/>
                  <a:moveTo>
                    <a:pt x="419100" y="542925"/>
                  </a:moveTo>
                  <a:lnTo>
                    <a:pt x="419100" y="552450"/>
                  </a:lnTo>
                  <a:lnTo>
                    <a:pt x="152400" y="552450"/>
                  </a:lnTo>
                  <a:lnTo>
                    <a:pt x="152400" y="542925"/>
                  </a:lnTo>
                  <a:cubicBezTo>
                    <a:pt x="152400" y="527171"/>
                    <a:pt x="165221" y="514350"/>
                    <a:pt x="180975" y="514350"/>
                  </a:cubicBezTo>
                  <a:lnTo>
                    <a:pt x="266700" y="514350"/>
                  </a:lnTo>
                  <a:lnTo>
                    <a:pt x="304800" y="514350"/>
                  </a:lnTo>
                  <a:lnTo>
                    <a:pt x="390525" y="514350"/>
                  </a:lnTo>
                  <a:cubicBezTo>
                    <a:pt x="406279" y="514350"/>
                    <a:pt x="419100" y="527171"/>
                    <a:pt x="419100" y="542925"/>
                  </a:cubicBezTo>
                  <a:close/>
                  <a:moveTo>
                    <a:pt x="295275" y="495300"/>
                  </a:moveTo>
                  <a:lnTo>
                    <a:pt x="276225" y="495300"/>
                  </a:lnTo>
                  <a:lnTo>
                    <a:pt x="276225" y="457200"/>
                  </a:lnTo>
                  <a:lnTo>
                    <a:pt x="295275" y="457200"/>
                  </a:lnTo>
                  <a:lnTo>
                    <a:pt x="295275" y="495300"/>
                  </a:lnTo>
                  <a:close/>
                  <a:moveTo>
                    <a:pt x="552450" y="409575"/>
                  </a:moveTo>
                  <a:cubicBezTo>
                    <a:pt x="552450" y="425329"/>
                    <a:pt x="539629" y="438150"/>
                    <a:pt x="523875" y="438150"/>
                  </a:cubicBezTo>
                  <a:lnTo>
                    <a:pt x="304800" y="438150"/>
                  </a:lnTo>
                  <a:lnTo>
                    <a:pt x="266700" y="438150"/>
                  </a:lnTo>
                  <a:lnTo>
                    <a:pt x="47625" y="438150"/>
                  </a:lnTo>
                  <a:cubicBezTo>
                    <a:pt x="31871" y="438150"/>
                    <a:pt x="19050" y="425329"/>
                    <a:pt x="19050" y="409575"/>
                  </a:cubicBezTo>
                  <a:lnTo>
                    <a:pt x="19050" y="400050"/>
                  </a:lnTo>
                  <a:lnTo>
                    <a:pt x="552450" y="400050"/>
                  </a:lnTo>
                  <a:lnTo>
                    <a:pt x="552450" y="409575"/>
                  </a:lnTo>
                  <a:close/>
                </a:path>
              </a:pathLst>
            </a:custGeom>
            <a:grpFill/>
            <a:ln w="3175" cap="flat">
              <a:solidFill>
                <a:schemeClr val="bg1"/>
              </a:solidFill>
              <a:prstDash val="solid"/>
              <a:miter/>
            </a:ln>
          </p:spPr>
          <p:txBody>
            <a:bodyPr rtlCol="0" anchor="ctr"/>
            <a:lstStyle/>
            <a:p>
              <a:pPr algn="r" rtl="1"/>
              <a:endParaRPr lang="en-US"/>
            </a:p>
          </p:txBody>
        </p:sp>
        <p:sp>
          <p:nvSpPr>
            <p:cNvPr id="38" name="Freeform: Shape 37">
              <a:extLst>
                <a:ext uri="{FF2B5EF4-FFF2-40B4-BE49-F238E27FC236}">
                  <a16:creationId xmlns:a16="http://schemas.microsoft.com/office/drawing/2014/main" id="{D5455C53-0188-4CD2-B7B5-6A39AA6EF160}"/>
                </a:ext>
              </a:extLst>
            </p:cNvPr>
            <p:cNvSpPr/>
            <p:nvPr/>
          </p:nvSpPr>
          <p:spPr>
            <a:xfrm>
              <a:off x="-469543" y="3814786"/>
              <a:ext cx="285750" cy="323850"/>
            </a:xfrm>
            <a:custGeom>
              <a:avLst/>
              <a:gdLst>
                <a:gd name="connsiteX0" fmla="*/ 9525 w 285750"/>
                <a:gd name="connsiteY0" fmla="*/ 323850 h 323850"/>
                <a:gd name="connsiteX1" fmla="*/ 285750 w 285750"/>
                <a:gd name="connsiteY1" fmla="*/ 323850 h 323850"/>
                <a:gd name="connsiteX2" fmla="*/ 285750 w 285750"/>
                <a:gd name="connsiteY2" fmla="*/ 304800 h 323850"/>
                <a:gd name="connsiteX3" fmla="*/ 19050 w 285750"/>
                <a:gd name="connsiteY3" fmla="*/ 304800 h 323850"/>
                <a:gd name="connsiteX4" fmla="*/ 19050 w 285750"/>
                <a:gd name="connsiteY4" fmla="*/ 0 h 323850"/>
                <a:gd name="connsiteX5" fmla="*/ 0 w 285750"/>
                <a:gd name="connsiteY5" fmla="*/ 0 h 323850"/>
                <a:gd name="connsiteX6" fmla="*/ 0 w 285750"/>
                <a:gd name="connsiteY6" fmla="*/ 314325 h 323850"/>
                <a:gd name="connsiteX7" fmla="*/ 9525 w 285750"/>
                <a:gd name="connsiteY7"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0" h="323850">
                  <a:moveTo>
                    <a:pt x="9525" y="323850"/>
                  </a:moveTo>
                  <a:lnTo>
                    <a:pt x="285750" y="323850"/>
                  </a:lnTo>
                  <a:lnTo>
                    <a:pt x="285750" y="304800"/>
                  </a:lnTo>
                  <a:lnTo>
                    <a:pt x="19050" y="304800"/>
                  </a:lnTo>
                  <a:lnTo>
                    <a:pt x="19050" y="0"/>
                  </a:lnTo>
                  <a:lnTo>
                    <a:pt x="0" y="0"/>
                  </a:lnTo>
                  <a:lnTo>
                    <a:pt x="0" y="314325"/>
                  </a:lnTo>
                  <a:cubicBezTo>
                    <a:pt x="0" y="319583"/>
                    <a:pt x="4267" y="323850"/>
                    <a:pt x="9525" y="323850"/>
                  </a:cubicBezTo>
                  <a:close/>
                </a:path>
              </a:pathLst>
            </a:custGeom>
            <a:grpFill/>
            <a:ln w="3175" cap="flat">
              <a:solidFill>
                <a:schemeClr val="bg1"/>
              </a:solidFill>
              <a:prstDash val="solid"/>
              <a:miter/>
            </a:ln>
          </p:spPr>
          <p:txBody>
            <a:bodyPr rtlCol="0" anchor="ctr"/>
            <a:lstStyle/>
            <a:p>
              <a:pPr algn="r" rtl="1"/>
              <a:endParaRPr lang="en-US"/>
            </a:p>
          </p:txBody>
        </p:sp>
        <p:sp>
          <p:nvSpPr>
            <p:cNvPr id="39" name="Freeform: Shape 38">
              <a:extLst>
                <a:ext uri="{FF2B5EF4-FFF2-40B4-BE49-F238E27FC236}">
                  <a16:creationId xmlns:a16="http://schemas.microsoft.com/office/drawing/2014/main" id="{9F3839F7-C0C1-4C6D-8200-26BB7BA0F510}"/>
                </a:ext>
              </a:extLst>
            </p:cNvPr>
            <p:cNvSpPr/>
            <p:nvPr/>
          </p:nvSpPr>
          <p:spPr>
            <a:xfrm>
              <a:off x="-679093" y="4024336"/>
              <a:ext cx="190500" cy="114300"/>
            </a:xfrm>
            <a:custGeom>
              <a:avLst/>
              <a:gdLst>
                <a:gd name="connsiteX0" fmla="*/ 9525 w 190500"/>
                <a:gd name="connsiteY0" fmla="*/ 114300 h 114300"/>
                <a:gd name="connsiteX1" fmla="*/ 180975 w 190500"/>
                <a:gd name="connsiteY1" fmla="*/ 114300 h 114300"/>
                <a:gd name="connsiteX2" fmla="*/ 190500 w 190500"/>
                <a:gd name="connsiteY2" fmla="*/ 104775 h 114300"/>
                <a:gd name="connsiteX3" fmla="*/ 190500 w 190500"/>
                <a:gd name="connsiteY3" fmla="*/ 9525 h 114300"/>
                <a:gd name="connsiteX4" fmla="*/ 180975 w 190500"/>
                <a:gd name="connsiteY4" fmla="*/ 0 h 114300"/>
                <a:gd name="connsiteX5" fmla="*/ 9525 w 190500"/>
                <a:gd name="connsiteY5" fmla="*/ 0 h 114300"/>
                <a:gd name="connsiteX6" fmla="*/ 0 w 190500"/>
                <a:gd name="connsiteY6" fmla="*/ 9525 h 114300"/>
                <a:gd name="connsiteX7" fmla="*/ 0 w 190500"/>
                <a:gd name="connsiteY7" fmla="*/ 104775 h 114300"/>
                <a:gd name="connsiteX8" fmla="*/ 9525 w 190500"/>
                <a:gd name="connsiteY8" fmla="*/ 114300 h 114300"/>
                <a:gd name="connsiteX9" fmla="*/ 19050 w 190500"/>
                <a:gd name="connsiteY9" fmla="*/ 19050 h 114300"/>
                <a:gd name="connsiteX10" fmla="*/ 171450 w 190500"/>
                <a:gd name="connsiteY10" fmla="*/ 19050 h 114300"/>
                <a:gd name="connsiteX11" fmla="*/ 171450 w 190500"/>
                <a:gd name="connsiteY11" fmla="*/ 95250 h 114300"/>
                <a:gd name="connsiteX12" fmla="*/ 19050 w 190500"/>
                <a:gd name="connsiteY12" fmla="*/ 95250 h 114300"/>
                <a:gd name="connsiteX13" fmla="*/ 19050 w 190500"/>
                <a:gd name="connsiteY13" fmla="*/ 190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500" h="114300">
                  <a:moveTo>
                    <a:pt x="9525" y="114300"/>
                  </a:moveTo>
                  <a:lnTo>
                    <a:pt x="180975" y="114300"/>
                  </a:lnTo>
                  <a:cubicBezTo>
                    <a:pt x="186233" y="114300"/>
                    <a:pt x="190500" y="110033"/>
                    <a:pt x="190500" y="104775"/>
                  </a:cubicBezTo>
                  <a:lnTo>
                    <a:pt x="190500" y="9525"/>
                  </a:lnTo>
                  <a:cubicBezTo>
                    <a:pt x="190500" y="4267"/>
                    <a:pt x="186233" y="0"/>
                    <a:pt x="180975" y="0"/>
                  </a:cubicBezTo>
                  <a:lnTo>
                    <a:pt x="9525" y="0"/>
                  </a:lnTo>
                  <a:cubicBezTo>
                    <a:pt x="4267" y="0"/>
                    <a:pt x="0" y="4267"/>
                    <a:pt x="0" y="9525"/>
                  </a:cubicBezTo>
                  <a:lnTo>
                    <a:pt x="0" y="104775"/>
                  </a:lnTo>
                  <a:cubicBezTo>
                    <a:pt x="0" y="110033"/>
                    <a:pt x="4267" y="114300"/>
                    <a:pt x="9525" y="114300"/>
                  </a:cubicBezTo>
                  <a:close/>
                  <a:moveTo>
                    <a:pt x="19050" y="19050"/>
                  </a:moveTo>
                  <a:lnTo>
                    <a:pt x="171450" y="19050"/>
                  </a:lnTo>
                  <a:lnTo>
                    <a:pt x="171450" y="95250"/>
                  </a:lnTo>
                  <a:lnTo>
                    <a:pt x="19050" y="95250"/>
                  </a:lnTo>
                  <a:lnTo>
                    <a:pt x="19050" y="19050"/>
                  </a:lnTo>
                  <a:close/>
                </a:path>
              </a:pathLst>
            </a:custGeom>
            <a:grpFill/>
            <a:ln w="3175" cap="flat">
              <a:solidFill>
                <a:schemeClr val="bg1"/>
              </a:solidFill>
              <a:prstDash val="solid"/>
              <a:miter/>
            </a:ln>
          </p:spPr>
          <p:txBody>
            <a:bodyPr rtlCol="0" anchor="ctr"/>
            <a:lstStyle/>
            <a:p>
              <a:pPr algn="r" rtl="1"/>
              <a:endParaRPr lang="en-US"/>
            </a:p>
          </p:txBody>
        </p:sp>
        <p:sp>
          <p:nvSpPr>
            <p:cNvPr id="40" name="Freeform: Shape 39">
              <a:extLst>
                <a:ext uri="{FF2B5EF4-FFF2-40B4-BE49-F238E27FC236}">
                  <a16:creationId xmlns:a16="http://schemas.microsoft.com/office/drawing/2014/main" id="{98849E54-A8A4-4F0B-BF32-E98759197294}"/>
                </a:ext>
              </a:extLst>
            </p:cNvPr>
            <p:cNvSpPr/>
            <p:nvPr/>
          </p:nvSpPr>
          <p:spPr>
            <a:xfrm>
              <a:off x="-439977" y="3862410"/>
              <a:ext cx="253384" cy="242383"/>
            </a:xfrm>
            <a:custGeom>
              <a:avLst/>
              <a:gdLst>
                <a:gd name="connsiteX0" fmla="*/ 49244 w 253384"/>
                <a:gd name="connsiteY0" fmla="*/ 178004 h 242383"/>
                <a:gd name="connsiteX1" fmla="*/ 78000 w 253384"/>
                <a:gd name="connsiteY1" fmla="*/ 206760 h 242383"/>
                <a:gd name="connsiteX2" fmla="*/ 90449 w 253384"/>
                <a:gd name="connsiteY2" fmla="*/ 207646 h 242383"/>
                <a:gd name="connsiteX3" fmla="*/ 128549 w 253384"/>
                <a:gd name="connsiteY3" fmla="*/ 179071 h 242383"/>
                <a:gd name="connsiteX4" fmla="*/ 131969 w 253384"/>
                <a:gd name="connsiteY4" fmla="*/ 174137 h 242383"/>
                <a:gd name="connsiteX5" fmla="*/ 168402 w 253384"/>
                <a:gd name="connsiteY5" fmla="*/ 50264 h 242383"/>
                <a:gd name="connsiteX6" fmla="*/ 189662 w 253384"/>
                <a:gd name="connsiteY6" fmla="*/ 163678 h 242383"/>
                <a:gd name="connsiteX7" fmla="*/ 196215 w 253384"/>
                <a:gd name="connsiteY7" fmla="*/ 171022 h 242383"/>
                <a:gd name="connsiteX8" fmla="*/ 205759 w 253384"/>
                <a:gd name="connsiteY8" fmla="*/ 168650 h 242383"/>
                <a:gd name="connsiteX9" fmla="*/ 253384 w 253384"/>
                <a:gd name="connsiteY9" fmla="*/ 121025 h 242383"/>
                <a:gd name="connsiteX10" fmla="*/ 239916 w 253384"/>
                <a:gd name="connsiteY10" fmla="*/ 107557 h 242383"/>
                <a:gd name="connsiteX11" fmla="*/ 205054 w 253384"/>
                <a:gd name="connsiteY11" fmla="*/ 142409 h 242383"/>
                <a:gd name="connsiteX12" fmla="*/ 179813 w 253384"/>
                <a:gd name="connsiteY12" fmla="*/ 7763 h 242383"/>
                <a:gd name="connsiteX13" fmla="*/ 170926 w 253384"/>
                <a:gd name="connsiteY13" fmla="*/ 10 h 242383"/>
                <a:gd name="connsiteX14" fmla="*/ 161306 w 253384"/>
                <a:gd name="connsiteY14" fmla="*/ 6830 h 242383"/>
                <a:gd name="connsiteX15" fmla="*/ 114576 w 253384"/>
                <a:gd name="connsiteY15" fmla="*/ 165726 h 242383"/>
                <a:gd name="connsiteX16" fmla="*/ 85611 w 253384"/>
                <a:gd name="connsiteY16" fmla="*/ 187443 h 242383"/>
                <a:gd name="connsiteX17" fmla="*/ 53350 w 253384"/>
                <a:gd name="connsiteY17" fmla="*/ 155182 h 242383"/>
                <a:gd name="connsiteX18" fmla="*/ 45091 w 253384"/>
                <a:gd name="connsiteY18" fmla="*/ 152515 h 242383"/>
                <a:gd name="connsiteX19" fmla="*/ 38100 w 253384"/>
                <a:gd name="connsiteY19" fmla="*/ 157658 h 242383"/>
                <a:gd name="connsiteX20" fmla="*/ 0 w 253384"/>
                <a:gd name="connsiteY20" fmla="*/ 233858 h 242383"/>
                <a:gd name="connsiteX21" fmla="*/ 17040 w 253384"/>
                <a:gd name="connsiteY21" fmla="*/ 242383 h 242383"/>
                <a:gd name="connsiteX22" fmla="*/ 49244 w 253384"/>
                <a:gd name="connsiteY22" fmla="*/ 178004 h 24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3384" h="242383">
                  <a:moveTo>
                    <a:pt x="49244" y="178004"/>
                  </a:moveTo>
                  <a:lnTo>
                    <a:pt x="78000" y="206760"/>
                  </a:lnTo>
                  <a:cubicBezTo>
                    <a:pt x="81353" y="210113"/>
                    <a:pt x="86658" y="210494"/>
                    <a:pt x="90449" y="207646"/>
                  </a:cubicBezTo>
                  <a:lnTo>
                    <a:pt x="128549" y="179071"/>
                  </a:lnTo>
                  <a:cubicBezTo>
                    <a:pt x="130188" y="177842"/>
                    <a:pt x="131388" y="176108"/>
                    <a:pt x="131969" y="174137"/>
                  </a:cubicBezTo>
                  <a:lnTo>
                    <a:pt x="168402" y="50264"/>
                  </a:lnTo>
                  <a:lnTo>
                    <a:pt x="189662" y="163678"/>
                  </a:lnTo>
                  <a:cubicBezTo>
                    <a:pt x="190310" y="167155"/>
                    <a:pt x="192834" y="169984"/>
                    <a:pt x="196215" y="171022"/>
                  </a:cubicBezTo>
                  <a:cubicBezTo>
                    <a:pt x="199587" y="172041"/>
                    <a:pt x="203264" y="171155"/>
                    <a:pt x="205759" y="168650"/>
                  </a:cubicBezTo>
                  <a:lnTo>
                    <a:pt x="253384" y="121025"/>
                  </a:lnTo>
                  <a:lnTo>
                    <a:pt x="239916" y="107557"/>
                  </a:lnTo>
                  <a:lnTo>
                    <a:pt x="205054" y="142409"/>
                  </a:lnTo>
                  <a:lnTo>
                    <a:pt x="179813" y="7763"/>
                  </a:lnTo>
                  <a:cubicBezTo>
                    <a:pt x="179003" y="3430"/>
                    <a:pt x="175327" y="220"/>
                    <a:pt x="170926" y="10"/>
                  </a:cubicBezTo>
                  <a:cubicBezTo>
                    <a:pt x="166497" y="-190"/>
                    <a:pt x="162554" y="2601"/>
                    <a:pt x="161306" y="6830"/>
                  </a:cubicBezTo>
                  <a:lnTo>
                    <a:pt x="114576" y="165726"/>
                  </a:lnTo>
                  <a:lnTo>
                    <a:pt x="85611" y="187443"/>
                  </a:lnTo>
                  <a:lnTo>
                    <a:pt x="53350" y="155182"/>
                  </a:lnTo>
                  <a:cubicBezTo>
                    <a:pt x="51178" y="153010"/>
                    <a:pt x="48092" y="152039"/>
                    <a:pt x="45091" y="152515"/>
                  </a:cubicBezTo>
                  <a:cubicBezTo>
                    <a:pt x="42072" y="153010"/>
                    <a:pt x="39472" y="154915"/>
                    <a:pt x="38100" y="157658"/>
                  </a:cubicBezTo>
                  <a:lnTo>
                    <a:pt x="0" y="233858"/>
                  </a:lnTo>
                  <a:lnTo>
                    <a:pt x="17040" y="242383"/>
                  </a:lnTo>
                  <a:lnTo>
                    <a:pt x="49244" y="178004"/>
                  </a:lnTo>
                  <a:close/>
                </a:path>
              </a:pathLst>
            </a:custGeom>
            <a:grpFill/>
            <a:ln w="3175" cap="flat">
              <a:solidFill>
                <a:schemeClr val="bg1"/>
              </a:solidFill>
              <a:prstDash val="solid"/>
              <a:miter/>
            </a:ln>
          </p:spPr>
          <p:txBody>
            <a:bodyPr rtlCol="0" anchor="ctr"/>
            <a:lstStyle/>
            <a:p>
              <a:pPr algn="r" rtl="1"/>
              <a:endParaRPr lang="en-US"/>
            </a:p>
          </p:txBody>
        </p:sp>
      </p:grpSp>
      <p:pic>
        <p:nvPicPr>
          <p:cNvPr id="6" name="Picture 5">
            <a:extLst>
              <a:ext uri="{FF2B5EF4-FFF2-40B4-BE49-F238E27FC236}">
                <a16:creationId xmlns:a16="http://schemas.microsoft.com/office/drawing/2014/main" id="{C632F7AB-461F-4BAD-A701-0BA83D91A52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313831" y="1920639"/>
            <a:ext cx="1987793" cy="1345528"/>
          </a:xfrm>
          <a:prstGeom prst="rect">
            <a:avLst/>
          </a:prstGeom>
        </p:spPr>
      </p:pic>
      <p:pic>
        <p:nvPicPr>
          <p:cNvPr id="8" name="Picture 7">
            <a:extLst>
              <a:ext uri="{FF2B5EF4-FFF2-40B4-BE49-F238E27FC236}">
                <a16:creationId xmlns:a16="http://schemas.microsoft.com/office/drawing/2014/main" id="{DAEC4FCA-4641-4F6E-8894-4E7CCC901DD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167378" y="2445942"/>
            <a:ext cx="3263954" cy="2833991"/>
          </a:xfrm>
          <a:prstGeom prst="rect">
            <a:avLst/>
          </a:prstGeom>
          <a:effectLst>
            <a:outerShdw blurRad="127000" sx="96000" sy="96000" algn="ctr" rotWithShape="0">
              <a:prstClr val="black">
                <a:alpha val="40000"/>
              </a:prstClr>
            </a:outerShdw>
          </a:effectLst>
        </p:spPr>
      </p:pic>
      <p:sp>
        <p:nvSpPr>
          <p:cNvPr id="43" name="TextBox 42">
            <a:extLst>
              <a:ext uri="{FF2B5EF4-FFF2-40B4-BE49-F238E27FC236}">
                <a16:creationId xmlns:a16="http://schemas.microsoft.com/office/drawing/2014/main" id="{6AA2B1A7-BAAD-40B0-8EEE-D33600B20803}"/>
              </a:ext>
            </a:extLst>
          </p:cNvPr>
          <p:cNvSpPr txBox="1"/>
          <p:nvPr/>
        </p:nvSpPr>
        <p:spPr>
          <a:xfrm flipH="1">
            <a:off x="7167378" y="5334940"/>
            <a:ext cx="4134245" cy="1015663"/>
          </a:xfrm>
          <a:prstGeom prst="rect">
            <a:avLst/>
          </a:prstGeom>
          <a:noFill/>
        </p:spPr>
        <p:txBody>
          <a:bodyPr wrap="square" rtlCol="0">
            <a:spAutoFit/>
          </a:bodyPr>
          <a:lstStyle/>
          <a:p>
            <a:pPr algn="r" rtl="1"/>
            <a:r>
              <a:rPr lang="ar-SA" sz="1200"/>
              <a:t>تتيح بوابة «الشبكة الأسترالية للبنية التحتية للأبحاث الحضرية» للمستخدمين إمكانية </a:t>
            </a:r>
            <a:r>
              <a:rPr lang="ar-EG" sz="1200"/>
              <a:t>تحويل</a:t>
            </a:r>
            <a:r>
              <a:rPr lang="ar-SA" sz="1200"/>
              <a:t> مجموعة البيانات </a:t>
            </a:r>
            <a:r>
              <a:rPr lang="ar-EG" sz="1200"/>
              <a:t>إلى </a:t>
            </a:r>
            <a:r>
              <a:rPr lang="ar-SA" sz="1200"/>
              <a:t>صور مرئية باستخدام أدوات التمثيل المرئي للخرائط. ويمكن للمستخدمين النقر على زر "الخرائط والرسوم البيانية والمخططات" (</a:t>
            </a:r>
            <a:r>
              <a:rPr lang="en-US" sz="1200"/>
              <a:t>Maps, Charts and Graphs</a:t>
            </a:r>
            <a:r>
              <a:rPr lang="ar-EG" sz="1200"/>
              <a:t>)</a:t>
            </a:r>
            <a:r>
              <a:rPr lang="en-US" sz="1200"/>
              <a:t> </a:t>
            </a:r>
            <a:r>
              <a:rPr lang="ar-SA" sz="1200"/>
              <a:t>في قسم "التمثيل المرئي" (</a:t>
            </a:r>
            <a:r>
              <a:rPr lang="en-US" sz="1200"/>
              <a:t>Visualize</a:t>
            </a:r>
            <a:r>
              <a:rPr lang="ar-EG" sz="1200"/>
              <a:t>)</a:t>
            </a:r>
            <a:r>
              <a:rPr lang="en-US" sz="1200"/>
              <a:t> </a:t>
            </a:r>
            <a:r>
              <a:rPr lang="ar-SA" sz="1200"/>
              <a:t>من اللوحة اليمنى</a:t>
            </a:r>
          </a:p>
        </p:txBody>
      </p:sp>
      <p:pic>
        <p:nvPicPr>
          <p:cNvPr id="25" name="Picture 2" descr="AURIN. Australian Urban Research Infrastructure Network">
            <a:extLst>
              <a:ext uri="{FF2B5EF4-FFF2-40B4-BE49-F238E27FC236}">
                <a16:creationId xmlns:a16="http://schemas.microsoft.com/office/drawing/2014/main" id="{D43C49BC-898B-4741-97EB-D1FBF719082F}"/>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Rounded Corners 26">
            <a:extLst>
              <a:ext uri="{FF2B5EF4-FFF2-40B4-BE49-F238E27FC236}">
                <a16:creationId xmlns:a16="http://schemas.microsoft.com/office/drawing/2014/main" id="{5987027E-B062-497D-B0E2-EE024BB66B6C}"/>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4- تجربة المستخدم</a:t>
            </a:r>
          </a:p>
        </p:txBody>
      </p:sp>
      <p:pic>
        <p:nvPicPr>
          <p:cNvPr id="28" name="Picture 27">
            <a:extLst>
              <a:ext uri="{FF2B5EF4-FFF2-40B4-BE49-F238E27FC236}">
                <a16:creationId xmlns:a16="http://schemas.microsoft.com/office/drawing/2014/main" id="{DC7354F7-76F5-46F8-9F38-CD5C50B16DB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244167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1156346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7"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9E52BBD8-BB76-4E0C-8C99-885498D8FE13}"/>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6" name="Slide Number Placeholder 4">
            <a:extLst>
              <a:ext uri="{FF2B5EF4-FFF2-40B4-BE49-F238E27FC236}">
                <a16:creationId xmlns:a16="http://schemas.microsoft.com/office/drawing/2014/main" id="{B56DAF4B-C8CF-4221-BB2E-26BC904FC085}"/>
              </a:ext>
            </a:extLst>
          </p:cNvPr>
          <p:cNvSpPr>
            <a:spLocks noGrp="1"/>
          </p:cNvSpPr>
          <p:nvPr>
            <p:ph type="sldNum" sz="quarter" idx="12"/>
          </p:nvPr>
        </p:nvSpPr>
        <p:spPr/>
        <p:txBody>
          <a:bodyPr/>
          <a:lstStyle/>
          <a:p>
            <a:pPr lvl="0"/>
            <a:fld id="{9FDB499F-DC86-4996-A3C7-FCE8E06389C2}" type="slidenum">
              <a:rPr lang="ar-SA" noProof="0" smtClean="0"/>
              <a:pPr lvl="0"/>
              <a:t>19</a:t>
            </a:fld>
            <a:endParaRPr lang="ar-SA" noProof="0"/>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3/ 4)</a:t>
            </a:r>
          </a:p>
        </p:txBody>
      </p:sp>
      <p:sp>
        <p:nvSpPr>
          <p:cNvPr id="17" name="Footer Placeholder 1">
            <a:extLst>
              <a:ext uri="{FF2B5EF4-FFF2-40B4-BE49-F238E27FC236}">
                <a16:creationId xmlns:a16="http://schemas.microsoft.com/office/drawing/2014/main" id="{7BA9EFCF-475E-4869-9AD5-77F08588F942}"/>
              </a:ext>
            </a:extLst>
          </p:cNvPr>
          <p:cNvSpPr txBox="1">
            <a:spLocks/>
          </p:cNvSpPr>
          <p:nvPr/>
        </p:nvSpPr>
        <p:spPr>
          <a:xfrm>
            <a:off x="645160" y="6446520"/>
            <a:ext cx="8140700" cy="274957"/>
          </a:xfrm>
          <a:prstGeom prst="rect">
            <a:avLst/>
          </a:prstGeom>
        </p:spPr>
        <p:txBody>
          <a:bodyPr vert="horz" lIns="91440" tIns="45720" rIns="91440" bIns="45720" rtlCol="1" anchor="b"/>
          <a:lstStyle>
            <a:defPPr>
              <a:defRPr lang="en-US"/>
            </a:defPPr>
            <a:lvl1pPr>
              <a:defRPr sz="900">
                <a:solidFill>
                  <a:schemeClr val="bg1">
                    <a:lumMod val="65000"/>
                  </a:schemeClr>
                </a:solidFill>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endParaRPr lang="ar-SA"/>
          </a:p>
        </p:txBody>
      </p:sp>
      <p:pic>
        <p:nvPicPr>
          <p:cNvPr id="11" name="Picture 10">
            <a:extLst>
              <a:ext uri="{FF2B5EF4-FFF2-40B4-BE49-F238E27FC236}">
                <a16:creationId xmlns:a16="http://schemas.microsoft.com/office/drawing/2014/main" id="{ADCFADA5-03B2-41F0-A547-D87F330D72C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63921" y="2307387"/>
            <a:ext cx="4962036" cy="3065686"/>
          </a:xfrm>
          <a:prstGeom prst="rect">
            <a:avLst/>
          </a:prstGeom>
          <a:effectLst>
            <a:outerShdw blurRad="127000" sx="96000" sy="96000" algn="ctr" rotWithShape="0">
              <a:prstClr val="black">
                <a:alpha val="40000"/>
              </a:prstClr>
            </a:outerShdw>
          </a:effectLst>
        </p:spPr>
      </p:pic>
      <p:pic>
        <p:nvPicPr>
          <p:cNvPr id="20" name="Picture 19">
            <a:extLst>
              <a:ext uri="{FF2B5EF4-FFF2-40B4-BE49-F238E27FC236}">
                <a16:creationId xmlns:a16="http://schemas.microsoft.com/office/drawing/2014/main" id="{FAFB62F4-5557-48FF-8950-91FE410F8F5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930975" y="2307387"/>
            <a:ext cx="4257804" cy="3070346"/>
          </a:xfrm>
          <a:prstGeom prst="rect">
            <a:avLst/>
          </a:prstGeom>
          <a:effectLst>
            <a:outerShdw blurRad="127000" sx="96000" sy="96000" algn="ctr" rotWithShape="0">
              <a:prstClr val="black">
                <a:alpha val="40000"/>
              </a:prstClr>
            </a:outerShdw>
          </a:effectLst>
        </p:spPr>
      </p:pic>
      <p:sp>
        <p:nvSpPr>
          <p:cNvPr id="21" name="Rectangle 20">
            <a:extLst>
              <a:ext uri="{FF2B5EF4-FFF2-40B4-BE49-F238E27FC236}">
                <a16:creationId xmlns:a16="http://schemas.microsoft.com/office/drawing/2014/main" id="{5E89A4D3-62A2-4FD7-99F5-8814C63B5F14}"/>
              </a:ext>
            </a:extLst>
          </p:cNvPr>
          <p:cNvSpPr/>
          <p:nvPr/>
        </p:nvSpPr>
        <p:spPr>
          <a:xfrm flipH="1">
            <a:off x="3386054" y="2787134"/>
            <a:ext cx="317770" cy="285914"/>
          </a:xfrm>
          <a:prstGeom prst="rect">
            <a:avLst/>
          </a:prstGeom>
          <a:noFill/>
          <a:ln w="127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rtl="1"/>
            <a:endParaRPr lang="en-US"/>
          </a:p>
        </p:txBody>
      </p:sp>
      <p:sp>
        <p:nvSpPr>
          <p:cNvPr id="35" name="Rectangle 34">
            <a:extLst>
              <a:ext uri="{FF2B5EF4-FFF2-40B4-BE49-F238E27FC236}">
                <a16:creationId xmlns:a16="http://schemas.microsoft.com/office/drawing/2014/main" id="{04AFE333-1375-4F07-AB6D-B75FFF74F35C}"/>
              </a:ext>
            </a:extLst>
          </p:cNvPr>
          <p:cNvSpPr/>
          <p:nvPr/>
        </p:nvSpPr>
        <p:spPr>
          <a:xfrm flipH="1">
            <a:off x="7934657" y="159926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التناسق المرئي</a:t>
            </a:r>
          </a:p>
        </p:txBody>
      </p:sp>
      <p:sp>
        <p:nvSpPr>
          <p:cNvPr id="37" name="TextBox 36">
            <a:extLst>
              <a:ext uri="{FF2B5EF4-FFF2-40B4-BE49-F238E27FC236}">
                <a16:creationId xmlns:a16="http://schemas.microsoft.com/office/drawing/2014/main" id="{07B93128-F205-4CB7-BF6C-E7068999474C}"/>
              </a:ext>
            </a:extLst>
          </p:cNvPr>
          <p:cNvSpPr txBox="1"/>
          <p:nvPr/>
        </p:nvSpPr>
        <p:spPr>
          <a:xfrm>
            <a:off x="9963218" y="1684778"/>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هـ</a:t>
            </a:r>
          </a:p>
        </p:txBody>
      </p:sp>
      <p:cxnSp>
        <p:nvCxnSpPr>
          <p:cNvPr id="38" name="Straight Connector 37">
            <a:extLst>
              <a:ext uri="{FF2B5EF4-FFF2-40B4-BE49-F238E27FC236}">
                <a16:creationId xmlns:a16="http://schemas.microsoft.com/office/drawing/2014/main" id="{5892323D-87F9-469D-9FD6-94D2444A982F}"/>
              </a:ext>
            </a:extLst>
          </p:cNvPr>
          <p:cNvCxnSpPr>
            <a:cxnSpLocks/>
          </p:cNvCxnSpPr>
          <p:nvPr/>
        </p:nvCxnSpPr>
        <p:spPr>
          <a:xfrm flipH="1">
            <a:off x="9923213" y="1763142"/>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C4FE0855-AF55-4FDB-81E6-1AB7FD01E680}"/>
              </a:ext>
            </a:extLst>
          </p:cNvPr>
          <p:cNvSpPr/>
          <p:nvPr/>
        </p:nvSpPr>
        <p:spPr>
          <a:xfrm flipH="1">
            <a:off x="2419719" y="159926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سهولة التنقل</a:t>
            </a:r>
          </a:p>
        </p:txBody>
      </p:sp>
      <p:sp>
        <p:nvSpPr>
          <p:cNvPr id="66" name="TextBox 65">
            <a:extLst>
              <a:ext uri="{FF2B5EF4-FFF2-40B4-BE49-F238E27FC236}">
                <a16:creationId xmlns:a16="http://schemas.microsoft.com/office/drawing/2014/main" id="{71ACE997-A3EE-463F-8635-6585927305B7}"/>
              </a:ext>
            </a:extLst>
          </p:cNvPr>
          <p:cNvSpPr txBox="1"/>
          <p:nvPr/>
        </p:nvSpPr>
        <p:spPr>
          <a:xfrm>
            <a:off x="4448280" y="1684778"/>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و</a:t>
            </a:r>
          </a:p>
        </p:txBody>
      </p:sp>
      <p:cxnSp>
        <p:nvCxnSpPr>
          <p:cNvPr id="77" name="Straight Connector 76">
            <a:extLst>
              <a:ext uri="{FF2B5EF4-FFF2-40B4-BE49-F238E27FC236}">
                <a16:creationId xmlns:a16="http://schemas.microsoft.com/office/drawing/2014/main" id="{576FD966-3D61-414E-9025-5F41DFAE8BB8}"/>
              </a:ext>
            </a:extLst>
          </p:cNvPr>
          <p:cNvCxnSpPr>
            <a:cxnSpLocks/>
          </p:cNvCxnSpPr>
          <p:nvPr/>
        </p:nvCxnSpPr>
        <p:spPr>
          <a:xfrm flipH="1">
            <a:off x="4400655" y="1763142"/>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65" name="Graphic 113">
            <a:extLst>
              <a:ext uri="{FF2B5EF4-FFF2-40B4-BE49-F238E27FC236}">
                <a16:creationId xmlns:a16="http://schemas.microsoft.com/office/drawing/2014/main" id="{4D34DC61-74D4-4B5A-9595-4202736C2697}"/>
              </a:ext>
            </a:extLst>
          </p:cNvPr>
          <p:cNvGrpSpPr/>
          <p:nvPr/>
        </p:nvGrpSpPr>
        <p:grpSpPr>
          <a:xfrm>
            <a:off x="8067243" y="1705125"/>
            <a:ext cx="305178" cy="305178"/>
            <a:chOff x="-370522" y="3312547"/>
            <a:chExt cx="857249" cy="857250"/>
          </a:xfrm>
          <a:solidFill>
            <a:schemeClr val="bg1"/>
          </a:solidFill>
        </p:grpSpPr>
        <p:sp>
          <p:nvSpPr>
            <p:cNvPr id="68" name="Freeform: Shape 67">
              <a:extLst>
                <a:ext uri="{FF2B5EF4-FFF2-40B4-BE49-F238E27FC236}">
                  <a16:creationId xmlns:a16="http://schemas.microsoft.com/office/drawing/2014/main" id="{95603ADE-5CA9-4FFC-B525-8C03A78FFCD3}"/>
                </a:ext>
              </a:extLst>
            </p:cNvPr>
            <p:cNvSpPr/>
            <p:nvPr/>
          </p:nvSpPr>
          <p:spPr>
            <a:xfrm>
              <a:off x="-370522" y="3312547"/>
              <a:ext cx="857249" cy="857250"/>
            </a:xfrm>
            <a:custGeom>
              <a:avLst/>
              <a:gdLst>
                <a:gd name="connsiteX0" fmla="*/ 0 w 857249"/>
                <a:gd name="connsiteY0" fmla="*/ 0 h 857250"/>
                <a:gd name="connsiteX1" fmla="*/ 0 w 857249"/>
                <a:gd name="connsiteY1" fmla="*/ 857250 h 857250"/>
                <a:gd name="connsiteX2" fmla="*/ 857250 w 857249"/>
                <a:gd name="connsiteY2" fmla="*/ 857250 h 857250"/>
                <a:gd name="connsiteX3" fmla="*/ 857250 w 857249"/>
                <a:gd name="connsiteY3" fmla="*/ 0 h 857250"/>
                <a:gd name="connsiteX4" fmla="*/ 0 w 857249"/>
                <a:gd name="connsiteY4" fmla="*/ 0 h 857250"/>
                <a:gd name="connsiteX5" fmla="*/ 819150 w 857249"/>
                <a:gd name="connsiteY5" fmla="*/ 38100 h 857250"/>
                <a:gd name="connsiteX6" fmla="*/ 819150 w 857249"/>
                <a:gd name="connsiteY6" fmla="*/ 383858 h 857250"/>
                <a:gd name="connsiteX7" fmla="*/ 600075 w 857249"/>
                <a:gd name="connsiteY7" fmla="*/ 383858 h 857250"/>
                <a:gd name="connsiteX8" fmla="*/ 561975 w 857249"/>
                <a:gd name="connsiteY8" fmla="*/ 383858 h 857250"/>
                <a:gd name="connsiteX9" fmla="*/ 38100 w 857249"/>
                <a:gd name="connsiteY9" fmla="*/ 383858 h 857250"/>
                <a:gd name="connsiteX10" fmla="*/ 38100 w 857249"/>
                <a:gd name="connsiteY10" fmla="*/ 38100 h 857250"/>
                <a:gd name="connsiteX11" fmla="*/ 819150 w 857249"/>
                <a:gd name="connsiteY11" fmla="*/ 38100 h 857250"/>
                <a:gd name="connsiteX12" fmla="*/ 38100 w 857249"/>
                <a:gd name="connsiteY12" fmla="*/ 421958 h 857250"/>
                <a:gd name="connsiteX13" fmla="*/ 561975 w 857249"/>
                <a:gd name="connsiteY13" fmla="*/ 421958 h 857250"/>
                <a:gd name="connsiteX14" fmla="*/ 561975 w 857249"/>
                <a:gd name="connsiteY14" fmla="*/ 819150 h 857250"/>
                <a:gd name="connsiteX15" fmla="*/ 38100 w 857249"/>
                <a:gd name="connsiteY15" fmla="*/ 819150 h 857250"/>
                <a:gd name="connsiteX16" fmla="*/ 38100 w 857249"/>
                <a:gd name="connsiteY16" fmla="*/ 421958 h 857250"/>
                <a:gd name="connsiteX17" fmla="*/ 600075 w 857249"/>
                <a:gd name="connsiteY17" fmla="*/ 819150 h 857250"/>
                <a:gd name="connsiteX18" fmla="*/ 600075 w 857249"/>
                <a:gd name="connsiteY18" fmla="*/ 421958 h 857250"/>
                <a:gd name="connsiteX19" fmla="*/ 819150 w 857249"/>
                <a:gd name="connsiteY19" fmla="*/ 421958 h 857250"/>
                <a:gd name="connsiteX20" fmla="*/ 819150 w 857249"/>
                <a:gd name="connsiteY20" fmla="*/ 819150 h 857250"/>
                <a:gd name="connsiteX21" fmla="*/ 600075 w 857249"/>
                <a:gd name="connsiteY21" fmla="*/ 8191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49" h="857250">
                  <a:moveTo>
                    <a:pt x="0" y="0"/>
                  </a:moveTo>
                  <a:lnTo>
                    <a:pt x="0" y="857250"/>
                  </a:lnTo>
                  <a:lnTo>
                    <a:pt x="857250" y="857250"/>
                  </a:lnTo>
                  <a:lnTo>
                    <a:pt x="857250" y="0"/>
                  </a:lnTo>
                  <a:lnTo>
                    <a:pt x="0" y="0"/>
                  </a:lnTo>
                  <a:close/>
                  <a:moveTo>
                    <a:pt x="819150" y="38100"/>
                  </a:moveTo>
                  <a:lnTo>
                    <a:pt x="819150" y="383858"/>
                  </a:lnTo>
                  <a:lnTo>
                    <a:pt x="600075" y="383858"/>
                  </a:lnTo>
                  <a:lnTo>
                    <a:pt x="561975" y="383858"/>
                  </a:lnTo>
                  <a:lnTo>
                    <a:pt x="38100" y="383858"/>
                  </a:lnTo>
                  <a:lnTo>
                    <a:pt x="38100" y="38100"/>
                  </a:lnTo>
                  <a:lnTo>
                    <a:pt x="819150" y="38100"/>
                  </a:lnTo>
                  <a:close/>
                  <a:moveTo>
                    <a:pt x="38100" y="421958"/>
                  </a:moveTo>
                  <a:lnTo>
                    <a:pt x="561975" y="421958"/>
                  </a:lnTo>
                  <a:lnTo>
                    <a:pt x="561975" y="819150"/>
                  </a:lnTo>
                  <a:lnTo>
                    <a:pt x="38100" y="819150"/>
                  </a:lnTo>
                  <a:lnTo>
                    <a:pt x="38100" y="421958"/>
                  </a:lnTo>
                  <a:close/>
                  <a:moveTo>
                    <a:pt x="600075" y="819150"/>
                  </a:moveTo>
                  <a:lnTo>
                    <a:pt x="600075" y="421958"/>
                  </a:lnTo>
                  <a:lnTo>
                    <a:pt x="819150" y="421958"/>
                  </a:lnTo>
                  <a:lnTo>
                    <a:pt x="819150" y="819150"/>
                  </a:lnTo>
                  <a:lnTo>
                    <a:pt x="600075" y="819150"/>
                  </a:lnTo>
                  <a:close/>
                </a:path>
              </a:pathLst>
            </a:custGeom>
            <a:grpFill/>
            <a:ln w="9525" cap="flat">
              <a:noFill/>
              <a:prstDash val="solid"/>
              <a:miter/>
            </a:ln>
          </p:spPr>
          <p:txBody>
            <a:bodyPr rtlCol="0" anchor="ctr"/>
            <a:lstStyle/>
            <a:p>
              <a:pPr algn="r" rtl="1"/>
              <a:endParaRPr lang="en-US"/>
            </a:p>
          </p:txBody>
        </p:sp>
        <p:sp>
          <p:nvSpPr>
            <p:cNvPr id="69" name="Freeform: Shape 68">
              <a:extLst>
                <a:ext uri="{FF2B5EF4-FFF2-40B4-BE49-F238E27FC236}">
                  <a16:creationId xmlns:a16="http://schemas.microsoft.com/office/drawing/2014/main" id="{68048DB0-208B-4650-A03B-0B42B8E2A6FE}"/>
                </a:ext>
              </a:extLst>
            </p:cNvPr>
            <p:cNvSpPr/>
            <p:nvPr/>
          </p:nvSpPr>
          <p:spPr>
            <a:xfrm>
              <a:off x="-286702" y="3777366"/>
              <a:ext cx="433387" cy="312419"/>
            </a:xfrm>
            <a:custGeom>
              <a:avLst/>
              <a:gdLst>
                <a:gd name="connsiteX0" fmla="*/ 200978 w 433387"/>
                <a:gd name="connsiteY0" fmla="*/ 108585 h 312419"/>
                <a:gd name="connsiteX1" fmla="*/ 128588 w 433387"/>
                <a:gd name="connsiteY1" fmla="*/ 150495 h 312419"/>
                <a:gd name="connsiteX2" fmla="*/ 35243 w 433387"/>
                <a:gd name="connsiteY2" fmla="*/ 96203 h 312419"/>
                <a:gd name="connsiteX3" fmla="*/ 200025 w 433387"/>
                <a:gd name="connsiteY3" fmla="*/ 0 h 312419"/>
                <a:gd name="connsiteX4" fmla="*/ 200025 w 433387"/>
                <a:gd name="connsiteY4" fmla="*/ 108585 h 312419"/>
                <a:gd name="connsiteX5" fmla="*/ 410528 w 433387"/>
                <a:gd name="connsiteY5" fmla="*/ 120015 h 312419"/>
                <a:gd name="connsiteX6" fmla="*/ 316230 w 433387"/>
                <a:gd name="connsiteY6" fmla="*/ 174308 h 312419"/>
                <a:gd name="connsiteX7" fmla="*/ 324803 w 433387"/>
                <a:gd name="connsiteY7" fmla="*/ 216218 h 312419"/>
                <a:gd name="connsiteX8" fmla="*/ 316230 w 433387"/>
                <a:gd name="connsiteY8" fmla="*/ 258128 h 312419"/>
                <a:gd name="connsiteX9" fmla="*/ 410528 w 433387"/>
                <a:gd name="connsiteY9" fmla="*/ 312420 h 312419"/>
                <a:gd name="connsiteX10" fmla="*/ 433388 w 433387"/>
                <a:gd name="connsiteY10" fmla="*/ 216218 h 312419"/>
                <a:gd name="connsiteX11" fmla="*/ 410528 w 433387"/>
                <a:gd name="connsiteY11" fmla="*/ 120015 h 312419"/>
                <a:gd name="connsiteX12" fmla="*/ 117158 w 433387"/>
                <a:gd name="connsiteY12" fmla="*/ 174308 h 312419"/>
                <a:gd name="connsiteX13" fmla="*/ 22860 w 433387"/>
                <a:gd name="connsiteY13" fmla="*/ 120015 h 312419"/>
                <a:gd name="connsiteX14" fmla="*/ 0 w 433387"/>
                <a:gd name="connsiteY14" fmla="*/ 216218 h 312419"/>
                <a:gd name="connsiteX15" fmla="*/ 22860 w 433387"/>
                <a:gd name="connsiteY15" fmla="*/ 312420 h 312419"/>
                <a:gd name="connsiteX16" fmla="*/ 117158 w 433387"/>
                <a:gd name="connsiteY16" fmla="*/ 258128 h 312419"/>
                <a:gd name="connsiteX17" fmla="*/ 108585 w 433387"/>
                <a:gd name="connsiteY17" fmla="*/ 216218 h 312419"/>
                <a:gd name="connsiteX18" fmla="*/ 117158 w 433387"/>
                <a:gd name="connsiteY18" fmla="*/ 174308 h 312419"/>
                <a:gd name="connsiteX19" fmla="*/ 287655 w 433387"/>
                <a:gd name="connsiteY19" fmla="*/ 132397 h 312419"/>
                <a:gd name="connsiteX20" fmla="*/ 292418 w 433387"/>
                <a:gd name="connsiteY20" fmla="*/ 122872 h 312419"/>
                <a:gd name="connsiteX21" fmla="*/ 293370 w 433387"/>
                <a:gd name="connsiteY21" fmla="*/ 120015 h 312419"/>
                <a:gd name="connsiteX22" fmla="*/ 304800 w 433387"/>
                <a:gd name="connsiteY22" fmla="*/ 95250 h 312419"/>
                <a:gd name="connsiteX23" fmla="*/ 305753 w 433387"/>
                <a:gd name="connsiteY23" fmla="*/ 93345 h 312419"/>
                <a:gd name="connsiteX24" fmla="*/ 310515 w 433387"/>
                <a:gd name="connsiteY24" fmla="*/ 82868 h 312419"/>
                <a:gd name="connsiteX25" fmla="*/ 311468 w 433387"/>
                <a:gd name="connsiteY25" fmla="*/ 80963 h 312419"/>
                <a:gd name="connsiteX26" fmla="*/ 317183 w 433387"/>
                <a:gd name="connsiteY26" fmla="*/ 68580 h 312419"/>
                <a:gd name="connsiteX27" fmla="*/ 317183 w 433387"/>
                <a:gd name="connsiteY27" fmla="*/ 68580 h 312419"/>
                <a:gd name="connsiteX28" fmla="*/ 321945 w 433387"/>
                <a:gd name="connsiteY28" fmla="*/ 58103 h 312419"/>
                <a:gd name="connsiteX29" fmla="*/ 322898 w 433387"/>
                <a:gd name="connsiteY29" fmla="*/ 56198 h 312419"/>
                <a:gd name="connsiteX30" fmla="*/ 326708 w 433387"/>
                <a:gd name="connsiteY30" fmla="*/ 46673 h 312419"/>
                <a:gd name="connsiteX31" fmla="*/ 326708 w 433387"/>
                <a:gd name="connsiteY31" fmla="*/ 45720 h 312419"/>
                <a:gd name="connsiteX32" fmla="*/ 330518 w 433387"/>
                <a:gd name="connsiteY32" fmla="*/ 35243 h 312419"/>
                <a:gd name="connsiteX33" fmla="*/ 330518 w 433387"/>
                <a:gd name="connsiteY33" fmla="*/ 34290 h 312419"/>
                <a:gd name="connsiteX34" fmla="*/ 330518 w 433387"/>
                <a:gd name="connsiteY34" fmla="*/ 34290 h 312419"/>
                <a:gd name="connsiteX35" fmla="*/ 342900 w 433387"/>
                <a:gd name="connsiteY35" fmla="*/ 1905 h 312419"/>
                <a:gd name="connsiteX36" fmla="*/ 321945 w 433387"/>
                <a:gd name="connsiteY36" fmla="*/ 29528 h 312419"/>
                <a:gd name="connsiteX37" fmla="*/ 321945 w 433387"/>
                <a:gd name="connsiteY37" fmla="*/ 29528 h 312419"/>
                <a:gd name="connsiteX38" fmla="*/ 320993 w 433387"/>
                <a:gd name="connsiteY38" fmla="*/ 30480 h 312419"/>
                <a:gd name="connsiteX39" fmla="*/ 314325 w 433387"/>
                <a:gd name="connsiteY39" fmla="*/ 39053 h 312419"/>
                <a:gd name="connsiteX40" fmla="*/ 314325 w 433387"/>
                <a:gd name="connsiteY40" fmla="*/ 39053 h 312419"/>
                <a:gd name="connsiteX41" fmla="*/ 307658 w 433387"/>
                <a:gd name="connsiteY41" fmla="*/ 47625 h 312419"/>
                <a:gd name="connsiteX42" fmla="*/ 305753 w 433387"/>
                <a:gd name="connsiteY42" fmla="*/ 49530 h 312419"/>
                <a:gd name="connsiteX43" fmla="*/ 300038 w 433387"/>
                <a:gd name="connsiteY43" fmla="*/ 58103 h 312419"/>
                <a:gd name="connsiteX44" fmla="*/ 299085 w 433387"/>
                <a:gd name="connsiteY44" fmla="*/ 60007 h 312419"/>
                <a:gd name="connsiteX45" fmla="*/ 291465 w 433387"/>
                <a:gd name="connsiteY45" fmla="*/ 70485 h 312419"/>
                <a:gd name="connsiteX46" fmla="*/ 290513 w 433387"/>
                <a:gd name="connsiteY46" fmla="*/ 72390 h 312419"/>
                <a:gd name="connsiteX47" fmla="*/ 284798 w 433387"/>
                <a:gd name="connsiteY47" fmla="*/ 80963 h 312419"/>
                <a:gd name="connsiteX48" fmla="*/ 282893 w 433387"/>
                <a:gd name="connsiteY48" fmla="*/ 83820 h 312419"/>
                <a:gd name="connsiteX49" fmla="*/ 266700 w 433387"/>
                <a:gd name="connsiteY49" fmla="*/ 105728 h 312419"/>
                <a:gd name="connsiteX50" fmla="*/ 264795 w 433387"/>
                <a:gd name="connsiteY50" fmla="*/ 107632 h 312419"/>
                <a:gd name="connsiteX51" fmla="*/ 259080 w 433387"/>
                <a:gd name="connsiteY51" fmla="*/ 116205 h 312419"/>
                <a:gd name="connsiteX52" fmla="*/ 257175 w 433387"/>
                <a:gd name="connsiteY52" fmla="*/ 116205 h 312419"/>
                <a:gd name="connsiteX53" fmla="*/ 257175 w 433387"/>
                <a:gd name="connsiteY53" fmla="*/ 116205 h 312419"/>
                <a:gd name="connsiteX54" fmla="*/ 192405 w 433387"/>
                <a:gd name="connsiteY54" fmla="*/ 206693 h 312419"/>
                <a:gd name="connsiteX55" fmla="*/ 201930 w 433387"/>
                <a:gd name="connsiteY55" fmla="*/ 243840 h 312419"/>
                <a:gd name="connsiteX56" fmla="*/ 239078 w 433387"/>
                <a:gd name="connsiteY56" fmla="*/ 234315 h 312419"/>
                <a:gd name="connsiteX57" fmla="*/ 285750 w 433387"/>
                <a:gd name="connsiteY57" fmla="*/ 134303 h 312419"/>
                <a:gd name="connsiteX58" fmla="*/ 285750 w 433387"/>
                <a:gd name="connsiteY58" fmla="*/ 134303 h 312419"/>
                <a:gd name="connsiteX59" fmla="*/ 287655 w 433387"/>
                <a:gd name="connsiteY59" fmla="*/ 132397 h 312419"/>
                <a:gd name="connsiteX60" fmla="*/ 339090 w 433387"/>
                <a:gd name="connsiteY60" fmla="*/ 37148 h 312419"/>
                <a:gd name="connsiteX61" fmla="*/ 294323 w 433387"/>
                <a:gd name="connsiteY61" fmla="*/ 140018 h 312419"/>
                <a:gd name="connsiteX62" fmla="*/ 302895 w 433387"/>
                <a:gd name="connsiteY62" fmla="*/ 150495 h 312419"/>
                <a:gd name="connsiteX63" fmla="*/ 396240 w 433387"/>
                <a:gd name="connsiteY63" fmla="*/ 96203 h 312419"/>
                <a:gd name="connsiteX64" fmla="*/ 339090 w 433387"/>
                <a:gd name="connsiteY64" fmla="*/ 37148 h 312419"/>
                <a:gd name="connsiteX65" fmla="*/ 315278 w 433387"/>
                <a:gd name="connsiteY65" fmla="*/ 22860 h 312419"/>
                <a:gd name="connsiteX66" fmla="*/ 229553 w 433387"/>
                <a:gd name="connsiteY66" fmla="*/ 0 h 312419"/>
                <a:gd name="connsiteX67" fmla="*/ 229553 w 433387"/>
                <a:gd name="connsiteY67" fmla="*/ 108585 h 312419"/>
                <a:gd name="connsiteX68" fmla="*/ 248603 w 433387"/>
                <a:gd name="connsiteY68" fmla="*/ 112395 h 312419"/>
                <a:gd name="connsiteX69" fmla="*/ 315278 w 433387"/>
                <a:gd name="connsiteY69" fmla="*/ 22860 h 31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33387" h="312419">
                  <a:moveTo>
                    <a:pt x="200978" y="108585"/>
                  </a:moveTo>
                  <a:cubicBezTo>
                    <a:pt x="175260" y="112395"/>
                    <a:pt x="146685" y="127635"/>
                    <a:pt x="128588" y="150495"/>
                  </a:cubicBezTo>
                  <a:lnTo>
                    <a:pt x="35243" y="96203"/>
                  </a:lnTo>
                  <a:cubicBezTo>
                    <a:pt x="71438" y="41910"/>
                    <a:pt x="132398" y="4763"/>
                    <a:pt x="200025" y="0"/>
                  </a:cubicBezTo>
                  <a:lnTo>
                    <a:pt x="200025" y="108585"/>
                  </a:lnTo>
                  <a:close/>
                  <a:moveTo>
                    <a:pt x="410528" y="120015"/>
                  </a:moveTo>
                  <a:lnTo>
                    <a:pt x="316230" y="174308"/>
                  </a:lnTo>
                  <a:cubicBezTo>
                    <a:pt x="321945" y="187643"/>
                    <a:pt x="324803" y="200978"/>
                    <a:pt x="324803" y="216218"/>
                  </a:cubicBezTo>
                  <a:cubicBezTo>
                    <a:pt x="324803" y="231458"/>
                    <a:pt x="321945" y="244793"/>
                    <a:pt x="316230" y="258128"/>
                  </a:cubicBezTo>
                  <a:lnTo>
                    <a:pt x="410528" y="312420"/>
                  </a:lnTo>
                  <a:cubicBezTo>
                    <a:pt x="424815" y="283845"/>
                    <a:pt x="433388" y="250508"/>
                    <a:pt x="433388" y="216218"/>
                  </a:cubicBezTo>
                  <a:cubicBezTo>
                    <a:pt x="433388" y="180975"/>
                    <a:pt x="424815" y="148590"/>
                    <a:pt x="410528" y="120015"/>
                  </a:cubicBezTo>
                  <a:close/>
                  <a:moveTo>
                    <a:pt x="117158" y="174308"/>
                  </a:moveTo>
                  <a:lnTo>
                    <a:pt x="22860" y="120015"/>
                  </a:lnTo>
                  <a:cubicBezTo>
                    <a:pt x="8573" y="148590"/>
                    <a:pt x="0" y="181928"/>
                    <a:pt x="0" y="216218"/>
                  </a:cubicBezTo>
                  <a:cubicBezTo>
                    <a:pt x="0" y="250508"/>
                    <a:pt x="8573" y="283845"/>
                    <a:pt x="22860" y="312420"/>
                  </a:cubicBezTo>
                  <a:lnTo>
                    <a:pt x="117158" y="258128"/>
                  </a:lnTo>
                  <a:cubicBezTo>
                    <a:pt x="111443" y="244793"/>
                    <a:pt x="108585" y="231458"/>
                    <a:pt x="108585" y="216218"/>
                  </a:cubicBezTo>
                  <a:cubicBezTo>
                    <a:pt x="108585" y="200978"/>
                    <a:pt x="112395" y="186690"/>
                    <a:pt x="117158" y="174308"/>
                  </a:cubicBezTo>
                  <a:close/>
                  <a:moveTo>
                    <a:pt x="287655" y="132397"/>
                  </a:moveTo>
                  <a:cubicBezTo>
                    <a:pt x="289560" y="129540"/>
                    <a:pt x="290513" y="125730"/>
                    <a:pt x="292418" y="122872"/>
                  </a:cubicBezTo>
                  <a:cubicBezTo>
                    <a:pt x="292418" y="121920"/>
                    <a:pt x="293370" y="120968"/>
                    <a:pt x="293370" y="120015"/>
                  </a:cubicBezTo>
                  <a:cubicBezTo>
                    <a:pt x="297180" y="111443"/>
                    <a:pt x="300990" y="102870"/>
                    <a:pt x="304800" y="95250"/>
                  </a:cubicBezTo>
                  <a:cubicBezTo>
                    <a:pt x="304800" y="94298"/>
                    <a:pt x="305753" y="94298"/>
                    <a:pt x="305753" y="93345"/>
                  </a:cubicBezTo>
                  <a:cubicBezTo>
                    <a:pt x="307658" y="89535"/>
                    <a:pt x="308610" y="86678"/>
                    <a:pt x="310515" y="82868"/>
                  </a:cubicBezTo>
                  <a:cubicBezTo>
                    <a:pt x="310515" y="81915"/>
                    <a:pt x="311468" y="80963"/>
                    <a:pt x="311468" y="80963"/>
                  </a:cubicBezTo>
                  <a:cubicBezTo>
                    <a:pt x="313373" y="77153"/>
                    <a:pt x="315278" y="72390"/>
                    <a:pt x="317183" y="68580"/>
                  </a:cubicBezTo>
                  <a:cubicBezTo>
                    <a:pt x="317183" y="68580"/>
                    <a:pt x="317183" y="68580"/>
                    <a:pt x="317183" y="68580"/>
                  </a:cubicBezTo>
                  <a:cubicBezTo>
                    <a:pt x="319088" y="64770"/>
                    <a:pt x="320040" y="60960"/>
                    <a:pt x="321945" y="58103"/>
                  </a:cubicBezTo>
                  <a:cubicBezTo>
                    <a:pt x="321945" y="57150"/>
                    <a:pt x="322898" y="56198"/>
                    <a:pt x="322898" y="56198"/>
                  </a:cubicBezTo>
                  <a:cubicBezTo>
                    <a:pt x="324803" y="52388"/>
                    <a:pt x="325755" y="49530"/>
                    <a:pt x="326708" y="46673"/>
                  </a:cubicBezTo>
                  <a:cubicBezTo>
                    <a:pt x="326708" y="46673"/>
                    <a:pt x="326708" y="45720"/>
                    <a:pt x="326708" y="45720"/>
                  </a:cubicBezTo>
                  <a:cubicBezTo>
                    <a:pt x="328613" y="41910"/>
                    <a:pt x="329565" y="39053"/>
                    <a:pt x="330518" y="35243"/>
                  </a:cubicBezTo>
                  <a:cubicBezTo>
                    <a:pt x="330518" y="35243"/>
                    <a:pt x="330518" y="35243"/>
                    <a:pt x="330518" y="34290"/>
                  </a:cubicBezTo>
                  <a:lnTo>
                    <a:pt x="330518" y="34290"/>
                  </a:lnTo>
                  <a:cubicBezTo>
                    <a:pt x="336233" y="20003"/>
                    <a:pt x="340995" y="8573"/>
                    <a:pt x="342900" y="1905"/>
                  </a:cubicBezTo>
                  <a:cubicBezTo>
                    <a:pt x="338138" y="7620"/>
                    <a:pt x="331470" y="17145"/>
                    <a:pt x="321945" y="29528"/>
                  </a:cubicBezTo>
                  <a:cubicBezTo>
                    <a:pt x="321945" y="29528"/>
                    <a:pt x="321945" y="29528"/>
                    <a:pt x="321945" y="29528"/>
                  </a:cubicBezTo>
                  <a:cubicBezTo>
                    <a:pt x="321945" y="29528"/>
                    <a:pt x="321945" y="29528"/>
                    <a:pt x="320993" y="30480"/>
                  </a:cubicBezTo>
                  <a:cubicBezTo>
                    <a:pt x="319088" y="33338"/>
                    <a:pt x="317183" y="36195"/>
                    <a:pt x="314325" y="39053"/>
                  </a:cubicBezTo>
                  <a:cubicBezTo>
                    <a:pt x="314325" y="39053"/>
                    <a:pt x="314325" y="39053"/>
                    <a:pt x="314325" y="39053"/>
                  </a:cubicBezTo>
                  <a:cubicBezTo>
                    <a:pt x="312420" y="41910"/>
                    <a:pt x="310515" y="44768"/>
                    <a:pt x="307658" y="47625"/>
                  </a:cubicBezTo>
                  <a:cubicBezTo>
                    <a:pt x="306705" y="48578"/>
                    <a:pt x="306705" y="49530"/>
                    <a:pt x="305753" y="49530"/>
                  </a:cubicBezTo>
                  <a:cubicBezTo>
                    <a:pt x="303848" y="52388"/>
                    <a:pt x="301943" y="55245"/>
                    <a:pt x="300038" y="58103"/>
                  </a:cubicBezTo>
                  <a:cubicBezTo>
                    <a:pt x="300038" y="59055"/>
                    <a:pt x="299085" y="59055"/>
                    <a:pt x="299085" y="60007"/>
                  </a:cubicBezTo>
                  <a:cubicBezTo>
                    <a:pt x="296228" y="63818"/>
                    <a:pt x="294323" y="66675"/>
                    <a:pt x="291465" y="70485"/>
                  </a:cubicBezTo>
                  <a:cubicBezTo>
                    <a:pt x="291465" y="71438"/>
                    <a:pt x="290513" y="71438"/>
                    <a:pt x="290513" y="72390"/>
                  </a:cubicBezTo>
                  <a:cubicBezTo>
                    <a:pt x="288608" y="75248"/>
                    <a:pt x="286703" y="78105"/>
                    <a:pt x="284798" y="80963"/>
                  </a:cubicBezTo>
                  <a:cubicBezTo>
                    <a:pt x="283845" y="81915"/>
                    <a:pt x="282893" y="82868"/>
                    <a:pt x="282893" y="83820"/>
                  </a:cubicBezTo>
                  <a:cubicBezTo>
                    <a:pt x="277178" y="91440"/>
                    <a:pt x="272415" y="98107"/>
                    <a:pt x="266700" y="105728"/>
                  </a:cubicBezTo>
                  <a:cubicBezTo>
                    <a:pt x="265748" y="106680"/>
                    <a:pt x="265748" y="107632"/>
                    <a:pt x="264795" y="107632"/>
                  </a:cubicBezTo>
                  <a:cubicBezTo>
                    <a:pt x="262890" y="110490"/>
                    <a:pt x="260985" y="113347"/>
                    <a:pt x="259080" y="116205"/>
                  </a:cubicBezTo>
                  <a:cubicBezTo>
                    <a:pt x="258128" y="114300"/>
                    <a:pt x="258128" y="115253"/>
                    <a:pt x="257175" y="116205"/>
                  </a:cubicBezTo>
                  <a:lnTo>
                    <a:pt x="257175" y="116205"/>
                  </a:lnTo>
                  <a:cubicBezTo>
                    <a:pt x="224790" y="160020"/>
                    <a:pt x="196215" y="200978"/>
                    <a:pt x="192405" y="206693"/>
                  </a:cubicBezTo>
                  <a:cubicBezTo>
                    <a:pt x="184785" y="220028"/>
                    <a:pt x="189548" y="236220"/>
                    <a:pt x="201930" y="243840"/>
                  </a:cubicBezTo>
                  <a:cubicBezTo>
                    <a:pt x="215265" y="251460"/>
                    <a:pt x="231458" y="246697"/>
                    <a:pt x="239078" y="234315"/>
                  </a:cubicBezTo>
                  <a:cubicBezTo>
                    <a:pt x="242888" y="228600"/>
                    <a:pt x="263843" y="183833"/>
                    <a:pt x="285750" y="134303"/>
                  </a:cubicBezTo>
                  <a:lnTo>
                    <a:pt x="285750" y="134303"/>
                  </a:lnTo>
                  <a:cubicBezTo>
                    <a:pt x="286703" y="133350"/>
                    <a:pt x="286703" y="132397"/>
                    <a:pt x="287655" y="132397"/>
                  </a:cubicBezTo>
                  <a:close/>
                  <a:moveTo>
                    <a:pt x="339090" y="37148"/>
                  </a:moveTo>
                  <a:cubicBezTo>
                    <a:pt x="327660" y="65723"/>
                    <a:pt x="310515" y="103822"/>
                    <a:pt x="294323" y="140018"/>
                  </a:cubicBezTo>
                  <a:cubicBezTo>
                    <a:pt x="297180" y="142875"/>
                    <a:pt x="300038" y="146685"/>
                    <a:pt x="302895" y="150495"/>
                  </a:cubicBezTo>
                  <a:lnTo>
                    <a:pt x="396240" y="96203"/>
                  </a:lnTo>
                  <a:cubicBezTo>
                    <a:pt x="381000" y="73343"/>
                    <a:pt x="360998" y="53340"/>
                    <a:pt x="339090" y="37148"/>
                  </a:cubicBezTo>
                  <a:close/>
                  <a:moveTo>
                    <a:pt x="315278" y="22860"/>
                  </a:moveTo>
                  <a:cubicBezTo>
                    <a:pt x="289560" y="9525"/>
                    <a:pt x="259080" y="1905"/>
                    <a:pt x="229553" y="0"/>
                  </a:cubicBezTo>
                  <a:lnTo>
                    <a:pt x="229553" y="108585"/>
                  </a:lnTo>
                  <a:cubicBezTo>
                    <a:pt x="236220" y="109538"/>
                    <a:pt x="242888" y="110490"/>
                    <a:pt x="248603" y="112395"/>
                  </a:cubicBezTo>
                  <a:cubicBezTo>
                    <a:pt x="272415" y="80963"/>
                    <a:pt x="297180" y="47625"/>
                    <a:pt x="315278" y="22860"/>
                  </a:cubicBezTo>
                  <a:close/>
                </a:path>
              </a:pathLst>
            </a:custGeom>
            <a:grpFill/>
            <a:ln w="9525" cap="flat">
              <a:noFill/>
              <a:prstDash val="solid"/>
              <a:miter/>
            </a:ln>
          </p:spPr>
          <p:txBody>
            <a:bodyPr rtlCol="0" anchor="ctr"/>
            <a:lstStyle/>
            <a:p>
              <a:pPr algn="r" rtl="1"/>
              <a:endParaRPr lang="en-US"/>
            </a:p>
          </p:txBody>
        </p:sp>
        <p:sp>
          <p:nvSpPr>
            <p:cNvPr id="70" name="Freeform: Shape 69">
              <a:extLst>
                <a:ext uri="{FF2B5EF4-FFF2-40B4-BE49-F238E27FC236}">
                  <a16:creationId xmlns:a16="http://schemas.microsoft.com/office/drawing/2014/main" id="{986A0272-AA7A-4C58-9163-5E6CFCD53212}"/>
                </a:ext>
              </a:extLst>
            </p:cNvPr>
            <p:cNvSpPr/>
            <p:nvPr/>
          </p:nvSpPr>
          <p:spPr>
            <a:xfrm>
              <a:off x="-290512" y="3390651"/>
              <a:ext cx="690562" cy="264795"/>
            </a:xfrm>
            <a:custGeom>
              <a:avLst/>
              <a:gdLst>
                <a:gd name="connsiteX0" fmla="*/ 57150 w 690562"/>
                <a:gd name="connsiteY0" fmla="*/ 264795 h 264795"/>
                <a:gd name="connsiteX1" fmla="*/ 0 w 690562"/>
                <a:gd name="connsiteY1" fmla="*/ 264795 h 264795"/>
                <a:gd name="connsiteX2" fmla="*/ 0 w 690562"/>
                <a:gd name="connsiteY2" fmla="*/ 39052 h 264795"/>
                <a:gd name="connsiteX3" fmla="*/ 57150 w 690562"/>
                <a:gd name="connsiteY3" fmla="*/ 39052 h 264795"/>
                <a:gd name="connsiteX4" fmla="*/ 57150 w 690562"/>
                <a:gd name="connsiteY4" fmla="*/ 264795 h 264795"/>
                <a:gd name="connsiteX5" fmla="*/ 147638 w 690562"/>
                <a:gd name="connsiteY5" fmla="*/ 0 h 264795"/>
                <a:gd name="connsiteX6" fmla="*/ 90488 w 690562"/>
                <a:gd name="connsiteY6" fmla="*/ 0 h 264795"/>
                <a:gd name="connsiteX7" fmla="*/ 90488 w 690562"/>
                <a:gd name="connsiteY7" fmla="*/ 264795 h 264795"/>
                <a:gd name="connsiteX8" fmla="*/ 147638 w 690562"/>
                <a:gd name="connsiteY8" fmla="*/ 264795 h 264795"/>
                <a:gd name="connsiteX9" fmla="*/ 147638 w 690562"/>
                <a:gd name="connsiteY9" fmla="*/ 0 h 264795"/>
                <a:gd name="connsiteX10" fmla="*/ 238125 w 690562"/>
                <a:gd name="connsiteY10" fmla="*/ 119063 h 264795"/>
                <a:gd name="connsiteX11" fmla="*/ 180975 w 690562"/>
                <a:gd name="connsiteY11" fmla="*/ 119063 h 264795"/>
                <a:gd name="connsiteX12" fmla="*/ 180975 w 690562"/>
                <a:gd name="connsiteY12" fmla="*/ 264795 h 264795"/>
                <a:gd name="connsiteX13" fmla="*/ 238125 w 690562"/>
                <a:gd name="connsiteY13" fmla="*/ 264795 h 264795"/>
                <a:gd name="connsiteX14" fmla="*/ 238125 w 690562"/>
                <a:gd name="connsiteY14" fmla="*/ 119063 h 264795"/>
                <a:gd name="connsiteX15" fmla="*/ 328613 w 690562"/>
                <a:gd name="connsiteY15" fmla="*/ 74295 h 264795"/>
                <a:gd name="connsiteX16" fmla="*/ 271463 w 690562"/>
                <a:gd name="connsiteY16" fmla="*/ 74295 h 264795"/>
                <a:gd name="connsiteX17" fmla="*/ 271463 w 690562"/>
                <a:gd name="connsiteY17" fmla="*/ 264795 h 264795"/>
                <a:gd name="connsiteX18" fmla="*/ 328613 w 690562"/>
                <a:gd name="connsiteY18" fmla="*/ 264795 h 264795"/>
                <a:gd name="connsiteX19" fmla="*/ 328613 w 690562"/>
                <a:gd name="connsiteY19" fmla="*/ 74295 h 264795"/>
                <a:gd name="connsiteX20" fmla="*/ 419100 w 690562"/>
                <a:gd name="connsiteY20" fmla="*/ 39052 h 264795"/>
                <a:gd name="connsiteX21" fmla="*/ 361950 w 690562"/>
                <a:gd name="connsiteY21" fmla="*/ 39052 h 264795"/>
                <a:gd name="connsiteX22" fmla="*/ 361950 w 690562"/>
                <a:gd name="connsiteY22" fmla="*/ 264795 h 264795"/>
                <a:gd name="connsiteX23" fmla="*/ 419100 w 690562"/>
                <a:gd name="connsiteY23" fmla="*/ 264795 h 264795"/>
                <a:gd name="connsiteX24" fmla="*/ 419100 w 690562"/>
                <a:gd name="connsiteY24" fmla="*/ 39052 h 264795"/>
                <a:gd name="connsiteX25" fmla="*/ 509588 w 690562"/>
                <a:gd name="connsiteY25" fmla="*/ 119063 h 264795"/>
                <a:gd name="connsiteX26" fmla="*/ 452438 w 690562"/>
                <a:gd name="connsiteY26" fmla="*/ 119063 h 264795"/>
                <a:gd name="connsiteX27" fmla="*/ 452438 w 690562"/>
                <a:gd name="connsiteY27" fmla="*/ 264795 h 264795"/>
                <a:gd name="connsiteX28" fmla="*/ 509588 w 690562"/>
                <a:gd name="connsiteY28" fmla="*/ 264795 h 264795"/>
                <a:gd name="connsiteX29" fmla="*/ 509588 w 690562"/>
                <a:gd name="connsiteY29" fmla="*/ 119063 h 264795"/>
                <a:gd name="connsiteX30" fmla="*/ 600075 w 690562"/>
                <a:gd name="connsiteY30" fmla="*/ 180022 h 264795"/>
                <a:gd name="connsiteX31" fmla="*/ 542925 w 690562"/>
                <a:gd name="connsiteY31" fmla="*/ 180022 h 264795"/>
                <a:gd name="connsiteX32" fmla="*/ 542925 w 690562"/>
                <a:gd name="connsiteY32" fmla="*/ 264795 h 264795"/>
                <a:gd name="connsiteX33" fmla="*/ 600075 w 690562"/>
                <a:gd name="connsiteY33" fmla="*/ 264795 h 264795"/>
                <a:gd name="connsiteX34" fmla="*/ 600075 w 690562"/>
                <a:gd name="connsiteY34" fmla="*/ 180022 h 264795"/>
                <a:gd name="connsiteX35" fmla="*/ 690563 w 690562"/>
                <a:gd name="connsiteY35" fmla="*/ 150495 h 264795"/>
                <a:gd name="connsiteX36" fmla="*/ 633413 w 690562"/>
                <a:gd name="connsiteY36" fmla="*/ 150495 h 264795"/>
                <a:gd name="connsiteX37" fmla="*/ 633413 w 690562"/>
                <a:gd name="connsiteY37" fmla="*/ 264795 h 264795"/>
                <a:gd name="connsiteX38" fmla="*/ 690563 w 690562"/>
                <a:gd name="connsiteY38" fmla="*/ 264795 h 264795"/>
                <a:gd name="connsiteX39" fmla="*/ 690563 w 690562"/>
                <a:gd name="connsiteY39" fmla="*/ 150495 h 26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90562" h="264795">
                  <a:moveTo>
                    <a:pt x="57150" y="264795"/>
                  </a:moveTo>
                  <a:lnTo>
                    <a:pt x="0" y="264795"/>
                  </a:lnTo>
                  <a:lnTo>
                    <a:pt x="0" y="39052"/>
                  </a:lnTo>
                  <a:lnTo>
                    <a:pt x="57150" y="39052"/>
                  </a:lnTo>
                  <a:lnTo>
                    <a:pt x="57150" y="264795"/>
                  </a:lnTo>
                  <a:close/>
                  <a:moveTo>
                    <a:pt x="147638" y="0"/>
                  </a:moveTo>
                  <a:lnTo>
                    <a:pt x="90488" y="0"/>
                  </a:lnTo>
                  <a:lnTo>
                    <a:pt x="90488" y="264795"/>
                  </a:lnTo>
                  <a:lnTo>
                    <a:pt x="147638" y="264795"/>
                  </a:lnTo>
                  <a:lnTo>
                    <a:pt x="147638" y="0"/>
                  </a:lnTo>
                  <a:close/>
                  <a:moveTo>
                    <a:pt x="238125" y="119063"/>
                  </a:moveTo>
                  <a:lnTo>
                    <a:pt x="180975" y="119063"/>
                  </a:lnTo>
                  <a:lnTo>
                    <a:pt x="180975" y="264795"/>
                  </a:lnTo>
                  <a:lnTo>
                    <a:pt x="238125" y="264795"/>
                  </a:lnTo>
                  <a:lnTo>
                    <a:pt x="238125" y="119063"/>
                  </a:lnTo>
                  <a:close/>
                  <a:moveTo>
                    <a:pt x="328613" y="74295"/>
                  </a:moveTo>
                  <a:lnTo>
                    <a:pt x="271463" y="74295"/>
                  </a:lnTo>
                  <a:lnTo>
                    <a:pt x="271463" y="264795"/>
                  </a:lnTo>
                  <a:lnTo>
                    <a:pt x="328613" y="264795"/>
                  </a:lnTo>
                  <a:lnTo>
                    <a:pt x="328613" y="74295"/>
                  </a:lnTo>
                  <a:close/>
                  <a:moveTo>
                    <a:pt x="419100" y="39052"/>
                  </a:moveTo>
                  <a:lnTo>
                    <a:pt x="361950" y="39052"/>
                  </a:lnTo>
                  <a:lnTo>
                    <a:pt x="361950" y="264795"/>
                  </a:lnTo>
                  <a:lnTo>
                    <a:pt x="419100" y="264795"/>
                  </a:lnTo>
                  <a:lnTo>
                    <a:pt x="419100" y="39052"/>
                  </a:lnTo>
                  <a:close/>
                  <a:moveTo>
                    <a:pt x="509588" y="119063"/>
                  </a:moveTo>
                  <a:lnTo>
                    <a:pt x="452438" y="119063"/>
                  </a:lnTo>
                  <a:lnTo>
                    <a:pt x="452438" y="264795"/>
                  </a:lnTo>
                  <a:lnTo>
                    <a:pt x="509588" y="264795"/>
                  </a:lnTo>
                  <a:lnTo>
                    <a:pt x="509588" y="119063"/>
                  </a:lnTo>
                  <a:close/>
                  <a:moveTo>
                    <a:pt x="600075" y="180022"/>
                  </a:moveTo>
                  <a:lnTo>
                    <a:pt x="542925" y="180022"/>
                  </a:lnTo>
                  <a:lnTo>
                    <a:pt x="542925" y="264795"/>
                  </a:lnTo>
                  <a:lnTo>
                    <a:pt x="600075" y="264795"/>
                  </a:lnTo>
                  <a:lnTo>
                    <a:pt x="600075" y="180022"/>
                  </a:lnTo>
                  <a:close/>
                  <a:moveTo>
                    <a:pt x="690563" y="150495"/>
                  </a:moveTo>
                  <a:lnTo>
                    <a:pt x="633413" y="150495"/>
                  </a:lnTo>
                  <a:lnTo>
                    <a:pt x="633413" y="264795"/>
                  </a:lnTo>
                  <a:lnTo>
                    <a:pt x="690563" y="264795"/>
                  </a:lnTo>
                  <a:lnTo>
                    <a:pt x="690563" y="150495"/>
                  </a:lnTo>
                  <a:close/>
                </a:path>
              </a:pathLst>
            </a:custGeom>
            <a:grpFill/>
            <a:ln w="9525" cap="flat">
              <a:noFill/>
              <a:prstDash val="solid"/>
              <a:miter/>
            </a:ln>
          </p:spPr>
          <p:txBody>
            <a:bodyPr rtlCol="0" anchor="ctr"/>
            <a:lstStyle/>
            <a:p>
              <a:pPr algn="r" rtl="1"/>
              <a:endParaRPr lang="en-US"/>
            </a:p>
          </p:txBody>
        </p:sp>
        <p:sp>
          <p:nvSpPr>
            <p:cNvPr id="71" name="Freeform: Shape 70">
              <a:extLst>
                <a:ext uri="{FF2B5EF4-FFF2-40B4-BE49-F238E27FC236}">
                  <a16:creationId xmlns:a16="http://schemas.microsoft.com/office/drawing/2014/main" id="{C1B0345F-A6A6-4BA7-A7A2-7639770CC605}"/>
                </a:ext>
              </a:extLst>
            </p:cNvPr>
            <p:cNvSpPr/>
            <p:nvPr/>
          </p:nvSpPr>
          <p:spPr>
            <a:xfrm>
              <a:off x="257175" y="3774509"/>
              <a:ext cx="161925" cy="46672"/>
            </a:xfrm>
            <a:custGeom>
              <a:avLst/>
              <a:gdLst>
                <a:gd name="connsiteX0" fmla="*/ 0 w 161925"/>
                <a:gd name="connsiteY0" fmla="*/ 0 h 46672"/>
                <a:gd name="connsiteX1" fmla="*/ 161925 w 161925"/>
                <a:gd name="connsiteY1" fmla="*/ 0 h 46672"/>
                <a:gd name="connsiteX2" fmla="*/ 161925 w 161925"/>
                <a:gd name="connsiteY2" fmla="*/ 46673 h 46672"/>
                <a:gd name="connsiteX3" fmla="*/ 0 w 161925"/>
                <a:gd name="connsiteY3" fmla="*/ 46673 h 46672"/>
              </a:gdLst>
              <a:ahLst/>
              <a:cxnLst>
                <a:cxn ang="0">
                  <a:pos x="connsiteX0" y="connsiteY0"/>
                </a:cxn>
                <a:cxn ang="0">
                  <a:pos x="connsiteX1" y="connsiteY1"/>
                </a:cxn>
                <a:cxn ang="0">
                  <a:pos x="connsiteX2" y="connsiteY2"/>
                </a:cxn>
                <a:cxn ang="0">
                  <a:pos x="connsiteX3" y="connsiteY3"/>
                </a:cxn>
              </a:cxnLst>
              <a:rect l="l" t="t" r="r" b="b"/>
              <a:pathLst>
                <a:path w="161925" h="46672">
                  <a:moveTo>
                    <a:pt x="0" y="0"/>
                  </a:moveTo>
                  <a:lnTo>
                    <a:pt x="161925" y="0"/>
                  </a:lnTo>
                  <a:lnTo>
                    <a:pt x="161925" y="46673"/>
                  </a:lnTo>
                  <a:lnTo>
                    <a:pt x="0" y="46673"/>
                  </a:lnTo>
                  <a:close/>
                </a:path>
              </a:pathLst>
            </a:custGeom>
            <a:grpFill/>
            <a:ln w="9525" cap="flat">
              <a:noFill/>
              <a:prstDash val="solid"/>
              <a:miter/>
            </a:ln>
          </p:spPr>
          <p:txBody>
            <a:bodyPr rtlCol="0" anchor="ctr"/>
            <a:lstStyle/>
            <a:p>
              <a:pPr algn="r" rtl="1"/>
              <a:endParaRPr lang="en-US"/>
            </a:p>
          </p:txBody>
        </p:sp>
        <p:sp>
          <p:nvSpPr>
            <p:cNvPr id="72" name="Freeform: Shape 71">
              <a:extLst>
                <a:ext uri="{FF2B5EF4-FFF2-40B4-BE49-F238E27FC236}">
                  <a16:creationId xmlns:a16="http://schemas.microsoft.com/office/drawing/2014/main" id="{03ED7066-0B3F-4B83-B4F8-D7566FDB85CC}"/>
                </a:ext>
              </a:extLst>
            </p:cNvPr>
            <p:cNvSpPr/>
            <p:nvPr/>
          </p:nvSpPr>
          <p:spPr>
            <a:xfrm>
              <a:off x="257175" y="3866902"/>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sp>
          <p:nvSpPr>
            <p:cNvPr id="73" name="Freeform: Shape 72">
              <a:extLst>
                <a:ext uri="{FF2B5EF4-FFF2-40B4-BE49-F238E27FC236}">
                  <a16:creationId xmlns:a16="http://schemas.microsoft.com/office/drawing/2014/main" id="{DEDE24DE-032A-4240-ABC1-1A4CDDCE94CC}"/>
                </a:ext>
              </a:extLst>
            </p:cNvPr>
            <p:cNvSpPr/>
            <p:nvPr/>
          </p:nvSpPr>
          <p:spPr>
            <a:xfrm>
              <a:off x="257175" y="3955484"/>
              <a:ext cx="86677" cy="46672"/>
            </a:xfrm>
            <a:custGeom>
              <a:avLst/>
              <a:gdLst>
                <a:gd name="connsiteX0" fmla="*/ 0 w 86677"/>
                <a:gd name="connsiteY0" fmla="*/ 0 h 46672"/>
                <a:gd name="connsiteX1" fmla="*/ 86677 w 86677"/>
                <a:gd name="connsiteY1" fmla="*/ 0 h 46672"/>
                <a:gd name="connsiteX2" fmla="*/ 86677 w 86677"/>
                <a:gd name="connsiteY2" fmla="*/ 46673 h 46672"/>
                <a:gd name="connsiteX3" fmla="*/ 0 w 86677"/>
                <a:gd name="connsiteY3" fmla="*/ 46673 h 46672"/>
              </a:gdLst>
              <a:ahLst/>
              <a:cxnLst>
                <a:cxn ang="0">
                  <a:pos x="connsiteX0" y="connsiteY0"/>
                </a:cxn>
                <a:cxn ang="0">
                  <a:pos x="connsiteX1" y="connsiteY1"/>
                </a:cxn>
                <a:cxn ang="0">
                  <a:pos x="connsiteX2" y="connsiteY2"/>
                </a:cxn>
                <a:cxn ang="0">
                  <a:pos x="connsiteX3" y="connsiteY3"/>
                </a:cxn>
              </a:cxnLst>
              <a:rect l="l" t="t" r="r" b="b"/>
              <a:pathLst>
                <a:path w="86677" h="46672">
                  <a:moveTo>
                    <a:pt x="0" y="0"/>
                  </a:moveTo>
                  <a:lnTo>
                    <a:pt x="86677" y="0"/>
                  </a:lnTo>
                  <a:lnTo>
                    <a:pt x="86677" y="46673"/>
                  </a:lnTo>
                  <a:lnTo>
                    <a:pt x="0" y="46673"/>
                  </a:lnTo>
                  <a:close/>
                </a:path>
              </a:pathLst>
            </a:custGeom>
            <a:grpFill/>
            <a:ln w="9525" cap="flat">
              <a:noFill/>
              <a:prstDash val="solid"/>
              <a:miter/>
            </a:ln>
          </p:spPr>
          <p:txBody>
            <a:bodyPr rtlCol="0" anchor="ctr"/>
            <a:lstStyle/>
            <a:p>
              <a:pPr algn="r" rtl="1"/>
              <a:endParaRPr lang="en-US"/>
            </a:p>
          </p:txBody>
        </p:sp>
        <p:sp>
          <p:nvSpPr>
            <p:cNvPr id="74" name="Freeform: Shape 73">
              <a:extLst>
                <a:ext uri="{FF2B5EF4-FFF2-40B4-BE49-F238E27FC236}">
                  <a16:creationId xmlns:a16="http://schemas.microsoft.com/office/drawing/2014/main" id="{4792E5A1-60C3-4041-ADD7-EF093C3B3502}"/>
                </a:ext>
              </a:extLst>
            </p:cNvPr>
            <p:cNvSpPr/>
            <p:nvPr/>
          </p:nvSpPr>
          <p:spPr>
            <a:xfrm>
              <a:off x="257175" y="4043114"/>
              <a:ext cx="121919" cy="46672"/>
            </a:xfrm>
            <a:custGeom>
              <a:avLst/>
              <a:gdLst>
                <a:gd name="connsiteX0" fmla="*/ 0 w 121919"/>
                <a:gd name="connsiteY0" fmla="*/ 0 h 46672"/>
                <a:gd name="connsiteX1" fmla="*/ 121920 w 121919"/>
                <a:gd name="connsiteY1" fmla="*/ 0 h 46672"/>
                <a:gd name="connsiteX2" fmla="*/ 121920 w 121919"/>
                <a:gd name="connsiteY2" fmla="*/ 46672 h 46672"/>
                <a:gd name="connsiteX3" fmla="*/ 0 w 121919"/>
                <a:gd name="connsiteY3" fmla="*/ 46672 h 46672"/>
              </a:gdLst>
              <a:ahLst/>
              <a:cxnLst>
                <a:cxn ang="0">
                  <a:pos x="connsiteX0" y="connsiteY0"/>
                </a:cxn>
                <a:cxn ang="0">
                  <a:pos x="connsiteX1" y="connsiteY1"/>
                </a:cxn>
                <a:cxn ang="0">
                  <a:pos x="connsiteX2" y="connsiteY2"/>
                </a:cxn>
                <a:cxn ang="0">
                  <a:pos x="connsiteX3" y="connsiteY3"/>
                </a:cxn>
              </a:cxnLst>
              <a:rect l="l" t="t" r="r" b="b"/>
              <a:pathLst>
                <a:path w="121919" h="46672">
                  <a:moveTo>
                    <a:pt x="0" y="0"/>
                  </a:moveTo>
                  <a:lnTo>
                    <a:pt x="121920" y="0"/>
                  </a:lnTo>
                  <a:lnTo>
                    <a:pt x="121920" y="46672"/>
                  </a:lnTo>
                  <a:lnTo>
                    <a:pt x="0" y="46672"/>
                  </a:lnTo>
                  <a:close/>
                </a:path>
              </a:pathLst>
            </a:custGeom>
            <a:grpFill/>
            <a:ln w="9525" cap="flat">
              <a:noFill/>
              <a:prstDash val="solid"/>
              <a:miter/>
            </a:ln>
          </p:spPr>
          <p:txBody>
            <a:bodyPr rtlCol="0" anchor="ctr"/>
            <a:lstStyle/>
            <a:p>
              <a:pPr algn="r" rtl="1"/>
              <a:endParaRPr lang="en-US"/>
            </a:p>
          </p:txBody>
        </p:sp>
      </p:grpSp>
      <p:grpSp>
        <p:nvGrpSpPr>
          <p:cNvPr id="55" name="Graphic 18">
            <a:extLst>
              <a:ext uri="{FF2B5EF4-FFF2-40B4-BE49-F238E27FC236}">
                <a16:creationId xmlns:a16="http://schemas.microsoft.com/office/drawing/2014/main" id="{7C0CBC80-6403-4526-9D7D-C2E19C8BD80E}"/>
              </a:ext>
            </a:extLst>
          </p:cNvPr>
          <p:cNvGrpSpPr/>
          <p:nvPr/>
        </p:nvGrpSpPr>
        <p:grpSpPr>
          <a:xfrm>
            <a:off x="2504447" y="1713041"/>
            <a:ext cx="297228" cy="297262"/>
            <a:chOff x="304679" y="4048945"/>
            <a:chExt cx="266739" cy="266769"/>
          </a:xfrm>
          <a:solidFill>
            <a:schemeClr val="bg1"/>
          </a:solidFill>
        </p:grpSpPr>
        <p:sp>
          <p:nvSpPr>
            <p:cNvPr id="57" name="Freeform: Shape 56">
              <a:extLst>
                <a:ext uri="{FF2B5EF4-FFF2-40B4-BE49-F238E27FC236}">
                  <a16:creationId xmlns:a16="http://schemas.microsoft.com/office/drawing/2014/main" id="{91495174-D485-4098-9132-65E3BCA89841}"/>
                </a:ext>
              </a:extLst>
            </p:cNvPr>
            <p:cNvSpPr/>
            <p:nvPr/>
          </p:nvSpPr>
          <p:spPr>
            <a:xfrm>
              <a:off x="304679" y="4048945"/>
              <a:ext cx="266739" cy="266769"/>
            </a:xfrm>
            <a:custGeom>
              <a:avLst/>
              <a:gdLst>
                <a:gd name="connsiteX0" fmla="*/ 225851 w 266739"/>
                <a:gd name="connsiteY0" fmla="*/ 37300 h 266769"/>
                <a:gd name="connsiteX1" fmla="*/ 212442 w 266739"/>
                <a:gd name="connsiteY1" fmla="*/ 38585 h 266769"/>
                <a:gd name="connsiteX2" fmla="*/ 212707 w 266739"/>
                <a:gd name="connsiteY2" fmla="*/ 51016 h 266769"/>
                <a:gd name="connsiteX3" fmla="*/ 215942 w 266739"/>
                <a:gd name="connsiteY3" fmla="*/ 212629 h 266769"/>
                <a:gd name="connsiteX4" fmla="*/ 54330 w 266739"/>
                <a:gd name="connsiteY4" fmla="*/ 215865 h 266769"/>
                <a:gd name="connsiteX5" fmla="*/ 51094 w 266739"/>
                <a:gd name="connsiteY5" fmla="*/ 54252 h 266769"/>
                <a:gd name="connsiteX6" fmla="*/ 177559 w 266739"/>
                <a:gd name="connsiteY6" fmla="*/ 27966 h 266769"/>
                <a:gd name="connsiteX7" fmla="*/ 189989 w 266739"/>
                <a:gd name="connsiteY7" fmla="*/ 22775 h 266769"/>
                <a:gd name="connsiteX8" fmla="*/ 184798 w 266739"/>
                <a:gd name="connsiteY8" fmla="*/ 10345 h 266769"/>
                <a:gd name="connsiteX9" fmla="*/ 10345 w 266739"/>
                <a:gd name="connsiteY9" fmla="*/ 81971 h 266769"/>
                <a:gd name="connsiteX10" fmla="*/ 81971 w 266739"/>
                <a:gd name="connsiteY10" fmla="*/ 256425 h 266769"/>
                <a:gd name="connsiteX11" fmla="*/ 256424 w 266739"/>
                <a:gd name="connsiteY11" fmla="*/ 184798 h 266769"/>
                <a:gd name="connsiteX12" fmla="*/ 225851 w 266739"/>
                <a:gd name="connsiteY12" fmla="*/ 37300 h 26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39" h="266769">
                  <a:moveTo>
                    <a:pt x="225851" y="37300"/>
                  </a:moveTo>
                  <a:cubicBezTo>
                    <a:pt x="221793" y="33952"/>
                    <a:pt x="215790" y="34527"/>
                    <a:pt x="212442" y="38585"/>
                  </a:cubicBezTo>
                  <a:cubicBezTo>
                    <a:pt x="209440" y="42223"/>
                    <a:pt x="209553" y="47510"/>
                    <a:pt x="212707" y="51016"/>
                  </a:cubicBezTo>
                  <a:cubicBezTo>
                    <a:pt x="258228" y="94750"/>
                    <a:pt x="259677" y="167107"/>
                    <a:pt x="215942" y="212629"/>
                  </a:cubicBezTo>
                  <a:cubicBezTo>
                    <a:pt x="172208" y="258150"/>
                    <a:pt x="99851" y="259599"/>
                    <a:pt x="54330" y="215865"/>
                  </a:cubicBezTo>
                  <a:cubicBezTo>
                    <a:pt x="8809" y="172131"/>
                    <a:pt x="7360" y="99774"/>
                    <a:pt x="51094" y="54252"/>
                  </a:cubicBezTo>
                  <a:cubicBezTo>
                    <a:pt x="83783" y="20228"/>
                    <a:pt x="134020" y="9786"/>
                    <a:pt x="177559" y="27966"/>
                  </a:cubicBezTo>
                  <a:cubicBezTo>
                    <a:pt x="182426" y="29965"/>
                    <a:pt x="187990" y="27641"/>
                    <a:pt x="189989" y="22775"/>
                  </a:cubicBezTo>
                  <a:cubicBezTo>
                    <a:pt x="191989" y="17909"/>
                    <a:pt x="189665" y="12344"/>
                    <a:pt x="184798" y="10345"/>
                  </a:cubicBezTo>
                  <a:cubicBezTo>
                    <a:pt x="116845" y="-18050"/>
                    <a:pt x="38740" y="14018"/>
                    <a:pt x="10345" y="81971"/>
                  </a:cubicBezTo>
                  <a:cubicBezTo>
                    <a:pt x="-18050" y="149924"/>
                    <a:pt x="14018" y="228030"/>
                    <a:pt x="81971" y="256425"/>
                  </a:cubicBezTo>
                  <a:cubicBezTo>
                    <a:pt x="149924" y="284820"/>
                    <a:pt x="228030" y="252751"/>
                    <a:pt x="256424" y="184798"/>
                  </a:cubicBezTo>
                  <a:cubicBezTo>
                    <a:pt x="277637" y="134033"/>
                    <a:pt x="265495" y="75451"/>
                    <a:pt x="225851" y="37300"/>
                  </a:cubicBezTo>
                  <a:close/>
                </a:path>
              </a:pathLst>
            </a:custGeom>
            <a:grpFill/>
            <a:ln w="9525" cap="flat">
              <a:noFill/>
              <a:prstDash val="solid"/>
              <a:miter/>
            </a:ln>
          </p:spPr>
          <p:txBody>
            <a:bodyPr rtlCol="0" anchor="ctr"/>
            <a:lstStyle/>
            <a:p>
              <a:pPr algn="r" rtl="1"/>
              <a:endParaRPr lang="en-US"/>
            </a:p>
          </p:txBody>
        </p:sp>
        <p:sp>
          <p:nvSpPr>
            <p:cNvPr id="58" name="Freeform: Shape 57">
              <a:extLst>
                <a:ext uri="{FF2B5EF4-FFF2-40B4-BE49-F238E27FC236}">
                  <a16:creationId xmlns:a16="http://schemas.microsoft.com/office/drawing/2014/main" id="{81864A16-AB5D-4216-9EAD-908E460DDDB3}"/>
                </a:ext>
              </a:extLst>
            </p:cNvPr>
            <p:cNvSpPr/>
            <p:nvPr/>
          </p:nvSpPr>
          <p:spPr>
            <a:xfrm>
              <a:off x="400133" y="4077674"/>
              <a:ext cx="76198" cy="66673"/>
            </a:xfrm>
            <a:custGeom>
              <a:avLst/>
              <a:gdLst>
                <a:gd name="connsiteX0" fmla="*/ 74867 w 76198"/>
                <a:gd name="connsiteY0" fmla="*/ 52291 h 66673"/>
                <a:gd name="connsiteX1" fmla="*/ 46291 w 76198"/>
                <a:gd name="connsiteY1" fmla="*/ 4666 h 66673"/>
                <a:gd name="connsiteX2" fmla="*/ 33239 w 76198"/>
                <a:gd name="connsiteY2" fmla="*/ 1335 h 66673"/>
                <a:gd name="connsiteX3" fmla="*/ 29908 w 76198"/>
                <a:gd name="connsiteY3" fmla="*/ 4666 h 66673"/>
                <a:gd name="connsiteX4" fmla="*/ 1333 w 76198"/>
                <a:gd name="connsiteY4" fmla="*/ 52291 h 66673"/>
                <a:gd name="connsiteX5" fmla="*/ 4669 w 76198"/>
                <a:gd name="connsiteY5" fmla="*/ 65342 h 66673"/>
                <a:gd name="connsiteX6" fmla="*/ 9525 w 76198"/>
                <a:gd name="connsiteY6" fmla="*/ 66674 h 66673"/>
                <a:gd name="connsiteX7" fmla="*/ 66675 w 76198"/>
                <a:gd name="connsiteY7" fmla="*/ 66674 h 66673"/>
                <a:gd name="connsiteX8" fmla="*/ 76198 w 76198"/>
                <a:gd name="connsiteY8" fmla="*/ 57147 h 66673"/>
                <a:gd name="connsiteX9" fmla="*/ 74867 w 76198"/>
                <a:gd name="connsiteY9" fmla="*/ 52291 h 66673"/>
                <a:gd name="connsiteX10" fmla="*/ 26384 w 76198"/>
                <a:gd name="connsiteY10" fmla="*/ 47624 h 66673"/>
                <a:gd name="connsiteX11" fmla="*/ 38100 w 76198"/>
                <a:gd name="connsiteY11" fmla="*/ 28002 h 66673"/>
                <a:gd name="connsiteX12" fmla="*/ 49816 w 76198"/>
                <a:gd name="connsiteY12" fmla="*/ 47624 h 6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198" h="66673">
                  <a:moveTo>
                    <a:pt x="74867" y="52291"/>
                  </a:moveTo>
                  <a:lnTo>
                    <a:pt x="46291" y="4666"/>
                  </a:lnTo>
                  <a:cubicBezTo>
                    <a:pt x="43607" y="142"/>
                    <a:pt x="37764" y="-1349"/>
                    <a:pt x="33239" y="1335"/>
                  </a:cubicBezTo>
                  <a:cubicBezTo>
                    <a:pt x="31868" y="2149"/>
                    <a:pt x="30723" y="3294"/>
                    <a:pt x="29908" y="4666"/>
                  </a:cubicBezTo>
                  <a:lnTo>
                    <a:pt x="1333" y="52291"/>
                  </a:lnTo>
                  <a:cubicBezTo>
                    <a:pt x="-1350" y="56816"/>
                    <a:pt x="144" y="62659"/>
                    <a:pt x="4669" y="65342"/>
                  </a:cubicBezTo>
                  <a:cubicBezTo>
                    <a:pt x="6139" y="66214"/>
                    <a:pt x="7816" y="66674"/>
                    <a:pt x="9525" y="66674"/>
                  </a:cubicBezTo>
                  <a:lnTo>
                    <a:pt x="66675" y="66674"/>
                  </a:lnTo>
                  <a:cubicBezTo>
                    <a:pt x="71936" y="66673"/>
                    <a:pt x="76199" y="62407"/>
                    <a:pt x="76198" y="57147"/>
                  </a:cubicBezTo>
                  <a:cubicBezTo>
                    <a:pt x="76198" y="55438"/>
                    <a:pt x="75738" y="53761"/>
                    <a:pt x="74867" y="52291"/>
                  </a:cubicBezTo>
                  <a:close/>
                  <a:moveTo>
                    <a:pt x="26384" y="47624"/>
                  </a:moveTo>
                  <a:lnTo>
                    <a:pt x="38100" y="28002"/>
                  </a:lnTo>
                  <a:lnTo>
                    <a:pt x="49816" y="47624"/>
                  </a:lnTo>
                  <a:close/>
                </a:path>
              </a:pathLst>
            </a:custGeom>
            <a:grpFill/>
            <a:ln w="9525" cap="flat">
              <a:noFill/>
              <a:prstDash val="solid"/>
              <a:miter/>
            </a:ln>
          </p:spPr>
          <p:txBody>
            <a:bodyPr rtlCol="0" anchor="ctr"/>
            <a:lstStyle/>
            <a:p>
              <a:pPr algn="r" rtl="1"/>
              <a:endParaRPr lang="en-US"/>
            </a:p>
          </p:txBody>
        </p:sp>
        <p:sp>
          <p:nvSpPr>
            <p:cNvPr id="59" name="Freeform: Shape 58">
              <a:extLst>
                <a:ext uri="{FF2B5EF4-FFF2-40B4-BE49-F238E27FC236}">
                  <a16:creationId xmlns:a16="http://schemas.microsoft.com/office/drawing/2014/main" id="{F3090A02-3FA4-4A79-9935-B17ADD0478F2}"/>
                </a:ext>
              </a:extLst>
            </p:cNvPr>
            <p:cNvSpPr/>
            <p:nvPr/>
          </p:nvSpPr>
          <p:spPr>
            <a:xfrm>
              <a:off x="400134" y="4220548"/>
              <a:ext cx="76198" cy="66675"/>
            </a:xfrm>
            <a:custGeom>
              <a:avLst/>
              <a:gdLst>
                <a:gd name="connsiteX0" fmla="*/ 29907 w 76198"/>
                <a:gd name="connsiteY0" fmla="*/ 52292 h 66675"/>
                <a:gd name="connsiteX1" fmla="*/ 33240 w 76198"/>
                <a:gd name="connsiteY1" fmla="*/ 65342 h 66675"/>
                <a:gd name="connsiteX2" fmla="*/ 38098 w 76198"/>
                <a:gd name="connsiteY2" fmla="*/ 66675 h 66675"/>
                <a:gd name="connsiteX3" fmla="*/ 46290 w 76198"/>
                <a:gd name="connsiteY3" fmla="*/ 62008 h 66675"/>
                <a:gd name="connsiteX4" fmla="*/ 74865 w 76198"/>
                <a:gd name="connsiteY4" fmla="*/ 14383 h 66675"/>
                <a:gd name="connsiteX5" fmla="*/ 71529 w 76198"/>
                <a:gd name="connsiteY5" fmla="*/ 1332 h 66675"/>
                <a:gd name="connsiteX6" fmla="*/ 66673 w 76198"/>
                <a:gd name="connsiteY6" fmla="*/ 0 h 66675"/>
                <a:gd name="connsiteX7" fmla="*/ 9523 w 76198"/>
                <a:gd name="connsiteY7" fmla="*/ 0 h 66675"/>
                <a:gd name="connsiteX8" fmla="*/ 0 w 76198"/>
                <a:gd name="connsiteY8" fmla="*/ 9527 h 66675"/>
                <a:gd name="connsiteX9" fmla="*/ 1332 w 76198"/>
                <a:gd name="connsiteY9" fmla="*/ 14383 h 66675"/>
                <a:gd name="connsiteX10" fmla="*/ 12762 w 76198"/>
                <a:gd name="connsiteY10" fmla="*/ 33433 h 66675"/>
                <a:gd name="connsiteX11" fmla="*/ 26067 w 76198"/>
                <a:gd name="connsiteY11" fmla="*/ 35534 h 66675"/>
                <a:gd name="connsiteX12" fmla="*/ 29145 w 76198"/>
                <a:gd name="connsiteY12" fmla="*/ 23908 h 66675"/>
                <a:gd name="connsiteX13" fmla="*/ 26382 w 76198"/>
                <a:gd name="connsiteY13" fmla="*/ 19050 h 66675"/>
                <a:gd name="connsiteX14" fmla="*/ 49814 w 76198"/>
                <a:gd name="connsiteY14" fmla="*/ 1905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98" h="66675">
                  <a:moveTo>
                    <a:pt x="29907" y="52292"/>
                  </a:moveTo>
                  <a:cubicBezTo>
                    <a:pt x="27224" y="56817"/>
                    <a:pt x="28717" y="62658"/>
                    <a:pt x="33240" y="65342"/>
                  </a:cubicBezTo>
                  <a:cubicBezTo>
                    <a:pt x="34711" y="66214"/>
                    <a:pt x="36388" y="66674"/>
                    <a:pt x="38098" y="66675"/>
                  </a:cubicBezTo>
                  <a:cubicBezTo>
                    <a:pt x="41461" y="66674"/>
                    <a:pt x="44574" y="64900"/>
                    <a:pt x="46290" y="62008"/>
                  </a:cubicBezTo>
                  <a:lnTo>
                    <a:pt x="74865" y="14383"/>
                  </a:lnTo>
                  <a:cubicBezTo>
                    <a:pt x="77548" y="9857"/>
                    <a:pt x="76054" y="4015"/>
                    <a:pt x="71529" y="1332"/>
                  </a:cubicBezTo>
                  <a:cubicBezTo>
                    <a:pt x="70059" y="460"/>
                    <a:pt x="68382" y="0"/>
                    <a:pt x="66673" y="0"/>
                  </a:cubicBezTo>
                  <a:lnTo>
                    <a:pt x="9523" y="0"/>
                  </a:lnTo>
                  <a:cubicBezTo>
                    <a:pt x="4262" y="1"/>
                    <a:pt x="-1" y="4266"/>
                    <a:pt x="0" y="9527"/>
                  </a:cubicBezTo>
                  <a:cubicBezTo>
                    <a:pt x="0" y="11236"/>
                    <a:pt x="460" y="12913"/>
                    <a:pt x="1332" y="14383"/>
                  </a:cubicBezTo>
                  <a:lnTo>
                    <a:pt x="12762" y="33433"/>
                  </a:lnTo>
                  <a:cubicBezTo>
                    <a:pt x="15855" y="37688"/>
                    <a:pt x="21812" y="38628"/>
                    <a:pt x="26067" y="35534"/>
                  </a:cubicBezTo>
                  <a:cubicBezTo>
                    <a:pt x="29719" y="32877"/>
                    <a:pt x="31004" y="28023"/>
                    <a:pt x="29145" y="23908"/>
                  </a:cubicBezTo>
                  <a:lnTo>
                    <a:pt x="26382" y="19050"/>
                  </a:lnTo>
                  <a:lnTo>
                    <a:pt x="49814" y="19050"/>
                  </a:lnTo>
                  <a:close/>
                </a:path>
              </a:pathLst>
            </a:custGeom>
            <a:grpFill/>
            <a:ln w="9525" cap="flat">
              <a:noFill/>
              <a:prstDash val="solid"/>
              <a:miter/>
            </a:ln>
          </p:spPr>
          <p:txBody>
            <a:bodyPr rtlCol="0" anchor="ctr"/>
            <a:lstStyle/>
            <a:p>
              <a:pPr algn="r" rtl="1"/>
              <a:endParaRPr lang="en-US"/>
            </a:p>
          </p:txBody>
        </p:sp>
        <p:sp>
          <p:nvSpPr>
            <p:cNvPr id="60" name="Freeform: Shape 59">
              <a:extLst>
                <a:ext uri="{FF2B5EF4-FFF2-40B4-BE49-F238E27FC236}">
                  <a16:creationId xmlns:a16="http://schemas.microsoft.com/office/drawing/2014/main" id="{8227AC16-EC5F-47EF-892C-FEAB7EE57345}"/>
                </a:ext>
              </a:extLst>
            </p:cNvPr>
            <p:cNvSpPr/>
            <p:nvPr/>
          </p:nvSpPr>
          <p:spPr>
            <a:xfrm>
              <a:off x="476333" y="4144348"/>
              <a:ext cx="66673" cy="76199"/>
            </a:xfrm>
            <a:custGeom>
              <a:avLst/>
              <a:gdLst>
                <a:gd name="connsiteX0" fmla="*/ 4858 w 66673"/>
                <a:gd name="connsiteY0" fmla="*/ 74962 h 76199"/>
                <a:gd name="connsiteX1" fmla="*/ 9525 w 66673"/>
                <a:gd name="connsiteY1" fmla="*/ 76200 h 76199"/>
                <a:gd name="connsiteX2" fmla="*/ 14383 w 66673"/>
                <a:gd name="connsiteY2" fmla="*/ 74867 h 76199"/>
                <a:gd name="connsiteX3" fmla="*/ 62008 w 66673"/>
                <a:gd name="connsiteY3" fmla="*/ 46291 h 76199"/>
                <a:gd name="connsiteX4" fmla="*/ 65339 w 66673"/>
                <a:gd name="connsiteY4" fmla="*/ 33239 h 76199"/>
                <a:gd name="connsiteX5" fmla="*/ 62008 w 66673"/>
                <a:gd name="connsiteY5" fmla="*/ 29908 h 76199"/>
                <a:gd name="connsiteX6" fmla="*/ 14383 w 66673"/>
                <a:gd name="connsiteY6" fmla="*/ 1333 h 76199"/>
                <a:gd name="connsiteX7" fmla="*/ 1332 w 66673"/>
                <a:gd name="connsiteY7" fmla="*/ 4669 h 76199"/>
                <a:gd name="connsiteX8" fmla="*/ 0 w 66673"/>
                <a:gd name="connsiteY8" fmla="*/ 9525 h 76199"/>
                <a:gd name="connsiteX9" fmla="*/ 0 w 66673"/>
                <a:gd name="connsiteY9" fmla="*/ 66675 h 76199"/>
                <a:gd name="connsiteX10" fmla="*/ 4858 w 66673"/>
                <a:gd name="connsiteY10" fmla="*/ 74962 h 76199"/>
                <a:gd name="connsiteX11" fmla="*/ 19050 w 66673"/>
                <a:gd name="connsiteY11" fmla="*/ 26384 h 76199"/>
                <a:gd name="connsiteX12" fmla="*/ 38671 w 66673"/>
                <a:gd name="connsiteY12" fmla="*/ 38100 h 76199"/>
                <a:gd name="connsiteX13" fmla="*/ 19050 w 66673"/>
                <a:gd name="connsiteY13" fmla="*/ 49816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199">
                  <a:moveTo>
                    <a:pt x="4858" y="74962"/>
                  </a:moveTo>
                  <a:cubicBezTo>
                    <a:pt x="6282" y="75769"/>
                    <a:pt x="7889" y="76195"/>
                    <a:pt x="9525" y="76200"/>
                  </a:cubicBezTo>
                  <a:cubicBezTo>
                    <a:pt x="11235" y="76199"/>
                    <a:pt x="12912" y="75739"/>
                    <a:pt x="14383" y="74867"/>
                  </a:cubicBezTo>
                  <a:lnTo>
                    <a:pt x="62008" y="46291"/>
                  </a:lnTo>
                  <a:cubicBezTo>
                    <a:pt x="66532" y="43607"/>
                    <a:pt x="68023" y="37764"/>
                    <a:pt x="65339" y="33239"/>
                  </a:cubicBezTo>
                  <a:cubicBezTo>
                    <a:pt x="64525" y="31868"/>
                    <a:pt x="63379" y="30723"/>
                    <a:pt x="62008" y="29908"/>
                  </a:cubicBezTo>
                  <a:lnTo>
                    <a:pt x="14383" y="1333"/>
                  </a:lnTo>
                  <a:cubicBezTo>
                    <a:pt x="9857" y="-1350"/>
                    <a:pt x="4015" y="144"/>
                    <a:pt x="1332" y="4669"/>
                  </a:cubicBezTo>
                  <a:cubicBezTo>
                    <a:pt x="460" y="6139"/>
                    <a:pt x="0" y="7816"/>
                    <a:pt x="0" y="9525"/>
                  </a:cubicBezTo>
                  <a:lnTo>
                    <a:pt x="0" y="66675"/>
                  </a:lnTo>
                  <a:cubicBezTo>
                    <a:pt x="6" y="70112"/>
                    <a:pt x="1862" y="73278"/>
                    <a:pt x="4858" y="74962"/>
                  </a:cubicBezTo>
                  <a:close/>
                  <a:moveTo>
                    <a:pt x="19050" y="26384"/>
                  </a:moveTo>
                  <a:lnTo>
                    <a:pt x="38671" y="38100"/>
                  </a:lnTo>
                  <a:lnTo>
                    <a:pt x="19050" y="49816"/>
                  </a:lnTo>
                  <a:close/>
                </a:path>
              </a:pathLst>
            </a:custGeom>
            <a:grpFill/>
            <a:ln w="9525" cap="flat">
              <a:noFill/>
              <a:prstDash val="solid"/>
              <a:miter/>
            </a:ln>
          </p:spPr>
          <p:txBody>
            <a:bodyPr rtlCol="0" anchor="ctr"/>
            <a:lstStyle/>
            <a:p>
              <a:pPr algn="r" rtl="1"/>
              <a:endParaRPr lang="en-US"/>
            </a:p>
          </p:txBody>
        </p:sp>
        <p:sp>
          <p:nvSpPr>
            <p:cNvPr id="61" name="Freeform: Shape 60">
              <a:extLst>
                <a:ext uri="{FF2B5EF4-FFF2-40B4-BE49-F238E27FC236}">
                  <a16:creationId xmlns:a16="http://schemas.microsoft.com/office/drawing/2014/main" id="{2648270F-4681-4C75-8AD3-A9CB03602DD2}"/>
                </a:ext>
              </a:extLst>
            </p:cNvPr>
            <p:cNvSpPr/>
            <p:nvPr/>
          </p:nvSpPr>
          <p:spPr>
            <a:xfrm>
              <a:off x="333459" y="4144310"/>
              <a:ext cx="66673" cy="76237"/>
            </a:xfrm>
            <a:custGeom>
              <a:avLst/>
              <a:gdLst>
                <a:gd name="connsiteX0" fmla="*/ 61816 w 66673"/>
                <a:gd name="connsiteY0" fmla="*/ 1276 h 76237"/>
                <a:gd name="connsiteX1" fmla="*/ 52291 w 66673"/>
                <a:gd name="connsiteY1" fmla="*/ 1276 h 76237"/>
                <a:gd name="connsiteX2" fmla="*/ 4666 w 66673"/>
                <a:gd name="connsiteY2" fmla="*/ 29851 h 76237"/>
                <a:gd name="connsiteX3" fmla="*/ 1335 w 66673"/>
                <a:gd name="connsiteY3" fmla="*/ 42903 h 76237"/>
                <a:gd name="connsiteX4" fmla="*/ 4666 w 66673"/>
                <a:gd name="connsiteY4" fmla="*/ 46234 h 76237"/>
                <a:gd name="connsiteX5" fmla="*/ 52291 w 66673"/>
                <a:gd name="connsiteY5" fmla="*/ 74809 h 76237"/>
                <a:gd name="connsiteX6" fmla="*/ 57149 w 66673"/>
                <a:gd name="connsiteY6" fmla="*/ 76238 h 76237"/>
                <a:gd name="connsiteX7" fmla="*/ 61816 w 66673"/>
                <a:gd name="connsiteY7" fmla="*/ 74999 h 76237"/>
                <a:gd name="connsiteX8" fmla="*/ 66674 w 66673"/>
                <a:gd name="connsiteY8" fmla="*/ 66713 h 76237"/>
                <a:gd name="connsiteX9" fmla="*/ 66674 w 66673"/>
                <a:gd name="connsiteY9" fmla="*/ 9563 h 76237"/>
                <a:gd name="connsiteX10" fmla="*/ 61816 w 66673"/>
                <a:gd name="connsiteY10" fmla="*/ 1276 h 76237"/>
                <a:gd name="connsiteX11" fmla="*/ 47624 w 66673"/>
                <a:gd name="connsiteY11" fmla="*/ 49853 h 76237"/>
                <a:gd name="connsiteX12" fmla="*/ 28002 w 66673"/>
                <a:gd name="connsiteY12" fmla="*/ 38138 h 76237"/>
                <a:gd name="connsiteX13" fmla="*/ 47624 w 66673"/>
                <a:gd name="connsiteY13" fmla="*/ 26422 h 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3" h="76237">
                  <a:moveTo>
                    <a:pt x="61816" y="1276"/>
                  </a:moveTo>
                  <a:cubicBezTo>
                    <a:pt x="58869" y="-425"/>
                    <a:pt x="55238" y="-425"/>
                    <a:pt x="52291" y="1276"/>
                  </a:cubicBezTo>
                  <a:lnTo>
                    <a:pt x="4666" y="29851"/>
                  </a:lnTo>
                  <a:cubicBezTo>
                    <a:pt x="142" y="32535"/>
                    <a:pt x="-1349" y="38379"/>
                    <a:pt x="1335" y="42903"/>
                  </a:cubicBezTo>
                  <a:cubicBezTo>
                    <a:pt x="2149" y="44275"/>
                    <a:pt x="3294" y="45419"/>
                    <a:pt x="4666" y="46234"/>
                  </a:cubicBezTo>
                  <a:lnTo>
                    <a:pt x="52291" y="74809"/>
                  </a:lnTo>
                  <a:cubicBezTo>
                    <a:pt x="53752" y="75715"/>
                    <a:pt x="55430" y="76208"/>
                    <a:pt x="57149" y="76238"/>
                  </a:cubicBezTo>
                  <a:cubicBezTo>
                    <a:pt x="58785" y="76233"/>
                    <a:pt x="60392" y="75806"/>
                    <a:pt x="61816" y="74999"/>
                  </a:cubicBezTo>
                  <a:cubicBezTo>
                    <a:pt x="64812" y="73315"/>
                    <a:pt x="66668" y="70149"/>
                    <a:pt x="66674" y="66713"/>
                  </a:cubicBezTo>
                  <a:lnTo>
                    <a:pt x="66674" y="9563"/>
                  </a:lnTo>
                  <a:cubicBezTo>
                    <a:pt x="66668" y="6126"/>
                    <a:pt x="64812" y="2960"/>
                    <a:pt x="61816" y="1276"/>
                  </a:cubicBezTo>
                  <a:close/>
                  <a:moveTo>
                    <a:pt x="47624" y="49853"/>
                  </a:moveTo>
                  <a:lnTo>
                    <a:pt x="28002" y="38138"/>
                  </a:lnTo>
                  <a:lnTo>
                    <a:pt x="47624" y="26422"/>
                  </a:lnTo>
                  <a:close/>
                </a:path>
              </a:pathLst>
            </a:custGeom>
            <a:grpFill/>
            <a:ln w="9525" cap="flat">
              <a:noFill/>
              <a:prstDash val="solid"/>
              <a:miter/>
            </a:ln>
          </p:spPr>
          <p:txBody>
            <a:bodyPr rtlCol="0" anchor="ctr"/>
            <a:lstStyle/>
            <a:p>
              <a:pPr algn="r" rtl="1"/>
              <a:endParaRPr lang="en-US"/>
            </a:p>
          </p:txBody>
        </p:sp>
      </p:grpSp>
      <p:sp>
        <p:nvSpPr>
          <p:cNvPr id="56" name="TextBox 55">
            <a:extLst>
              <a:ext uri="{FF2B5EF4-FFF2-40B4-BE49-F238E27FC236}">
                <a16:creationId xmlns:a16="http://schemas.microsoft.com/office/drawing/2014/main" id="{2D0F4F66-8DC2-4539-B335-6079EC77D991}"/>
              </a:ext>
            </a:extLst>
          </p:cNvPr>
          <p:cNvSpPr txBox="1"/>
          <p:nvPr/>
        </p:nvSpPr>
        <p:spPr>
          <a:xfrm flipH="1">
            <a:off x="1063921" y="5478059"/>
            <a:ext cx="5031899" cy="646331"/>
          </a:xfrm>
          <a:prstGeom prst="rect">
            <a:avLst/>
          </a:prstGeom>
          <a:noFill/>
        </p:spPr>
        <p:txBody>
          <a:bodyPr wrap="square" rtlCol="0">
            <a:spAutoFit/>
          </a:bodyPr>
          <a:lstStyle>
            <a:defPPr>
              <a:defRPr lang="en-US"/>
            </a:defPPr>
            <a:lvl1pPr>
              <a:defRPr sz="1200"/>
            </a:lvl1pPr>
          </a:lstStyle>
          <a:p>
            <a:pPr algn="r" rtl="1"/>
            <a:r>
              <a:rPr lang="ar-SA"/>
              <a:t>تدعم البوابة أنماط التنقل المختلفة، بما يشمل أزرار التمرير والتنقل المستند إلى الخريطة والوصول إلى بيانات الموقع من خلال النقر، كما أن الخيارات والأدوات المتاحة تحمل علامات واضحة ويسهل الوصول إليها</a:t>
            </a:r>
          </a:p>
        </p:txBody>
      </p:sp>
      <p:sp>
        <p:nvSpPr>
          <p:cNvPr id="67" name="TextBox 66">
            <a:extLst>
              <a:ext uri="{FF2B5EF4-FFF2-40B4-BE49-F238E27FC236}">
                <a16:creationId xmlns:a16="http://schemas.microsoft.com/office/drawing/2014/main" id="{43A6420E-F23D-4E50-996B-4BAA6223A051}"/>
              </a:ext>
            </a:extLst>
          </p:cNvPr>
          <p:cNvSpPr txBox="1"/>
          <p:nvPr/>
        </p:nvSpPr>
        <p:spPr>
          <a:xfrm flipH="1">
            <a:off x="6930975" y="5478059"/>
            <a:ext cx="4389241" cy="461665"/>
          </a:xfrm>
          <a:prstGeom prst="rect">
            <a:avLst/>
          </a:prstGeom>
          <a:noFill/>
        </p:spPr>
        <p:txBody>
          <a:bodyPr wrap="square" rtlCol="0">
            <a:spAutoFit/>
          </a:bodyPr>
          <a:lstStyle/>
          <a:p>
            <a:pPr algn="r" rtl="1"/>
            <a:r>
              <a:rPr lang="ar-SA" sz="1200"/>
              <a:t>هيكل المنصة منظم ومتناسق من الناحية المرئية ومزود بواجهة واضحة المعالم</a:t>
            </a:r>
          </a:p>
        </p:txBody>
      </p:sp>
      <p:pic>
        <p:nvPicPr>
          <p:cNvPr id="41" name="Picture 2" descr="AURIN. Australian Urban Research Infrastructure Network">
            <a:extLst>
              <a:ext uri="{FF2B5EF4-FFF2-40B4-BE49-F238E27FC236}">
                <a16:creationId xmlns:a16="http://schemas.microsoft.com/office/drawing/2014/main" id="{1AC305E6-6F02-4E43-900E-CD78149476A6}"/>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Rounded Corners 42">
            <a:extLst>
              <a:ext uri="{FF2B5EF4-FFF2-40B4-BE49-F238E27FC236}">
                <a16:creationId xmlns:a16="http://schemas.microsoft.com/office/drawing/2014/main" id="{2879427B-3A4D-4D2F-9058-35C3EB9AE05B}"/>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4- تجربة المستخدم</a:t>
            </a:r>
          </a:p>
        </p:txBody>
      </p:sp>
      <p:pic>
        <p:nvPicPr>
          <p:cNvPr id="39" name="Picture 38">
            <a:extLst>
              <a:ext uri="{FF2B5EF4-FFF2-40B4-BE49-F238E27FC236}">
                <a16:creationId xmlns:a16="http://schemas.microsoft.com/office/drawing/2014/main" id="{46EB5E06-0D90-462D-97F6-E44D71686FB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753105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extLst>
              <p:ext uri="{D42A27DB-BD31-4B8C-83A1-F6EECF244321}">
                <p14:modId xmlns:p14="http://schemas.microsoft.com/office/powerpoint/2010/main" val="3141611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9"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9330" name="Picture 2" descr="AURIN. Australian Urban Research Infrastructure Network">
            <a:extLst>
              <a:ext uri="{FF2B5EF4-FFF2-40B4-BE49-F238E27FC236}">
                <a16:creationId xmlns:a16="http://schemas.microsoft.com/office/drawing/2014/main" id="{1F531100-4283-4328-8761-0185D70DCCBC}"/>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US" sz="3200" u="none" strike="noStrike" kern="1200" cap="none" spc="0" normalizeH="0" noProof="0">
              <a:ln>
                <a:noFill/>
              </a:ln>
              <a:solidFill>
                <a:prstClr val="white"/>
              </a:solidFill>
              <a:effectLst/>
              <a:uLnTx/>
              <a:uFillTx/>
              <a:latin typeface="DIN Next LT Arabic Medium" panose="020B0603020203050203" pitchFamily="34" charset="-78"/>
              <a:ea typeface="+mj-ea"/>
              <a:cs typeface="+mj-cs"/>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8" name="Slide Number Placeholder 4">
            <a:extLst>
              <a:ext uri="{FF2B5EF4-FFF2-40B4-BE49-F238E27FC236}">
                <a16:creationId xmlns:a16="http://schemas.microsoft.com/office/drawing/2014/main" id="{04015204-1D64-48F0-8AF9-AD76C1908C0F}"/>
              </a:ext>
            </a:extLst>
          </p:cNvPr>
          <p:cNvSpPr>
            <a:spLocks noGrp="1"/>
          </p:cNvSpPr>
          <p:nvPr>
            <p:ph type="sldNum" sz="quarter" idx="12"/>
          </p:nvPr>
        </p:nvSpPr>
        <p:spPr/>
        <p:txBody>
          <a:bodyPr/>
          <a:lstStyle/>
          <a:p>
            <a:pPr lvl="0"/>
            <a:fld id="{9FDB499F-DC86-4996-A3C7-FCE8E06389C2}" type="slidenum">
              <a:rPr lang="ar-SA" noProof="0" smtClean="0"/>
              <a:pPr lvl="0"/>
              <a:t>2</a:t>
            </a:fld>
            <a:endParaRPr lang="ar-SA" noProof="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الشبكة الأسترالية للبنية التحتية للأبحاث الحضرية – نظرة عامة</a:t>
            </a:r>
          </a:p>
        </p:txBody>
      </p:sp>
      <p:sp>
        <p:nvSpPr>
          <p:cNvPr id="39" name="Rectangle 38">
            <a:extLst>
              <a:ext uri="{FF2B5EF4-FFF2-40B4-BE49-F238E27FC236}">
                <a16:creationId xmlns:a16="http://schemas.microsoft.com/office/drawing/2014/main" id="{C32372C7-D01E-4C48-A056-A1089D571B77}"/>
              </a:ext>
            </a:extLst>
          </p:cNvPr>
          <p:cNvSpPr/>
          <p:nvPr/>
        </p:nvSpPr>
        <p:spPr>
          <a:xfrm flipH="1">
            <a:off x="645160" y="1786359"/>
            <a:ext cx="7248469" cy="1470864"/>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300" b="0" i="0" u="none" strike="noStrike" cap="none" normalizeH="0" baseline="0" noProof="0">
                <a:ln>
                  <a:noFill/>
                </a:ln>
                <a:solidFill>
                  <a:srgbClr val="282560"/>
                </a:solidFill>
                <a:effectLst/>
                <a:uLnTx/>
                <a:uFillTx/>
                <a:latin typeface="DIN Next LT Arabic"/>
                <a:ea typeface="+mn-ea"/>
                <a:cs typeface="DIN Next LT Arabic"/>
              </a:rPr>
              <a:t>«الشبكة الأسترالية للبنية التحتية للأبحاث الحضرية» هي عبارة عن مرصد معني بالتحليلات والسياسات والذي يتيح للباحثين والمصممين </a:t>
            </a:r>
            <a:r>
              <a:rPr kumimoji="0" lang="ar-EG" sz="1300" b="0" i="0" u="none" strike="noStrike" cap="none" normalizeH="0" baseline="0" noProof="0">
                <a:ln>
                  <a:noFill/>
                </a:ln>
                <a:solidFill>
                  <a:srgbClr val="282560"/>
                </a:solidFill>
                <a:effectLst/>
                <a:uLnTx/>
                <a:uFillTx/>
                <a:latin typeface="DIN Next LT Arabic"/>
                <a:ea typeface="+mn-ea"/>
                <a:cs typeface="DIN Next LT Arabic"/>
              </a:rPr>
              <a:t>ومسؤولي التخطيط </a:t>
            </a:r>
            <a:r>
              <a:rPr kumimoji="0" lang="ar-SA" sz="1300" b="0" i="0" u="none" strike="noStrike" cap="none" normalizeH="0" baseline="0" noProof="0">
                <a:ln>
                  <a:noFill/>
                </a:ln>
                <a:solidFill>
                  <a:srgbClr val="282560"/>
                </a:solidFill>
                <a:effectLst/>
                <a:uLnTx/>
                <a:uFillTx/>
                <a:latin typeface="DIN Next LT Arabic"/>
                <a:ea typeface="+mn-ea"/>
                <a:cs typeface="DIN Next LT Arabic"/>
              </a:rPr>
              <a:t>في المجال الحضري إمكانية الوصول إلى أكثر من 5,500 مجموعة بيانات واردة من أكثر من 140 مصدراً، إضافة إلى </a:t>
            </a:r>
            <a:r>
              <a:rPr kumimoji="0" lang="ar-EG" sz="1300" b="0" i="0" u="none" strike="noStrike" cap="none" normalizeH="0" baseline="0" noProof="0">
                <a:ln>
                  <a:noFill/>
                </a:ln>
                <a:solidFill>
                  <a:srgbClr val="282560"/>
                </a:solidFill>
                <a:effectLst/>
                <a:uLnTx/>
                <a:uFillTx/>
                <a:latin typeface="DIN Next LT Arabic"/>
                <a:ea typeface="+mn-ea"/>
                <a:cs typeface="DIN Next LT Arabic"/>
              </a:rPr>
              <a:t>تحويل</a:t>
            </a:r>
            <a:r>
              <a:rPr kumimoji="0" lang="ar-SA" sz="1300" b="0" i="0" u="none" strike="noStrike" cap="none" normalizeH="0" baseline="0" noProof="0">
                <a:ln>
                  <a:noFill/>
                </a:ln>
                <a:solidFill>
                  <a:srgbClr val="282560"/>
                </a:solidFill>
                <a:effectLst/>
                <a:uLnTx/>
                <a:uFillTx/>
                <a:latin typeface="DIN Next LT Arabic"/>
                <a:ea typeface="+mn-ea"/>
                <a:cs typeface="DIN Next LT Arabic"/>
              </a:rPr>
              <a:t> هذه المجموعات </a:t>
            </a:r>
            <a:r>
              <a:rPr kumimoji="0" lang="ar-EG" sz="1300" b="0" i="0" u="none" strike="noStrike" cap="none" normalizeH="0" baseline="0" noProof="0">
                <a:ln>
                  <a:noFill/>
                </a:ln>
                <a:solidFill>
                  <a:srgbClr val="282560"/>
                </a:solidFill>
                <a:effectLst/>
                <a:uLnTx/>
                <a:uFillTx/>
                <a:latin typeface="DIN Next LT Arabic"/>
                <a:ea typeface="+mn-ea"/>
                <a:cs typeface="DIN Next LT Arabic"/>
              </a:rPr>
              <a:t>إلى </a:t>
            </a:r>
            <a:r>
              <a:rPr kumimoji="0" lang="ar-SA" sz="1300" b="0" i="0" u="none" strike="noStrike" cap="none" normalizeH="0" baseline="0" noProof="0">
                <a:ln>
                  <a:noFill/>
                </a:ln>
                <a:solidFill>
                  <a:srgbClr val="282560"/>
                </a:solidFill>
                <a:effectLst/>
                <a:uLnTx/>
                <a:uFillTx/>
                <a:latin typeface="DIN Next LT Arabic"/>
                <a:ea typeface="+mn-ea"/>
                <a:cs typeface="DIN Next LT Arabic"/>
              </a:rPr>
              <a:t>صور مرئ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300" b="0" i="0" u="none" strike="noStrike" cap="none" normalizeH="0" baseline="0" noProof="0">
                <a:ln>
                  <a:noFill/>
                </a:ln>
                <a:solidFill>
                  <a:srgbClr val="282560"/>
                </a:solidFill>
                <a:effectLst/>
                <a:uLnTx/>
                <a:uFillTx/>
                <a:latin typeface="DIN Next LT Arabic"/>
                <a:ea typeface="+mn-ea"/>
                <a:cs typeface="DIN Next LT Arabic"/>
              </a:rPr>
              <a:t>تتعاون الشبكة مع أكثر من 100 مؤسسة وأكثر من 500 فرد من الأوساط البحثية والسياسية والممارسين المشتركين في المشروع</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300" b="0" i="0" u="none" strike="noStrike" cap="none" normalizeH="0" baseline="0" noProof="0">
                <a:ln>
                  <a:noFill/>
                </a:ln>
                <a:solidFill>
                  <a:srgbClr val="282560"/>
                </a:solidFill>
                <a:effectLst/>
                <a:uLnTx/>
                <a:uFillTx/>
                <a:latin typeface="DIN Next LT Arabic"/>
                <a:ea typeface="+mn-ea"/>
                <a:cs typeface="DIN Next LT Arabic"/>
              </a:rPr>
              <a:t>تحصل الشبكة على التمويل ضمن إطار «الاستراتيجية الوطنية للبنية التحتية للأبحاث التعاونية» وهي إحدى البرامج الحكومية في أستراليا التي تهدف إلى دعم وإدارة البنية التحتية للأبحاث الوطنية</a:t>
            </a:r>
          </a:p>
        </p:txBody>
      </p:sp>
      <p:sp>
        <p:nvSpPr>
          <p:cNvPr id="40" name="TextBox 39">
            <a:extLst>
              <a:ext uri="{FF2B5EF4-FFF2-40B4-BE49-F238E27FC236}">
                <a16:creationId xmlns:a16="http://schemas.microsoft.com/office/drawing/2014/main" id="{89285015-AB7B-4A5E-A02A-EBC0038D4F3B}"/>
              </a:ext>
            </a:extLst>
          </p:cNvPr>
          <p:cNvSpPr txBox="1"/>
          <p:nvPr/>
        </p:nvSpPr>
        <p:spPr>
          <a:xfrm>
            <a:off x="3690935" y="1546569"/>
            <a:ext cx="1156920" cy="310470"/>
          </a:xfrm>
          <a:prstGeom prst="rect">
            <a:avLst/>
          </a:prstGeom>
          <a:solidFill>
            <a:schemeClr val="bg1"/>
          </a:solidFill>
        </p:spPr>
        <p:txBody>
          <a:bodyPr wrap="square" lIns="0" tIns="0" rIns="0" bIns="0" rtlCol="0" anchor="b">
            <a:spAutoFit/>
          </a:bodyPr>
          <a:lstStyle/>
          <a:p>
            <a:pPr algn="ctr" rtl="1">
              <a:lnSpc>
                <a:spcPct val="110000"/>
              </a:lnSpc>
            </a:pPr>
            <a:r>
              <a:rPr lang="ar-SA" sz="2000">
                <a:solidFill>
                  <a:schemeClr val="accent2"/>
                </a:solidFill>
                <a:latin typeface="+mj-lt"/>
                <a:cs typeface="DIN Next LT Arabic" panose="020B0503020203050203" pitchFamily="34" charset="-78"/>
              </a:rPr>
              <a:t>نظرة عامة</a:t>
            </a:r>
          </a:p>
        </p:txBody>
      </p:sp>
      <p:sp>
        <p:nvSpPr>
          <p:cNvPr id="25" name="Rectangle 24">
            <a:extLst>
              <a:ext uri="{FF2B5EF4-FFF2-40B4-BE49-F238E27FC236}">
                <a16:creationId xmlns:a16="http://schemas.microsoft.com/office/drawing/2014/main" id="{8980DAEB-DFF8-42DD-B695-4C56E994F642}"/>
              </a:ext>
            </a:extLst>
          </p:cNvPr>
          <p:cNvSpPr/>
          <p:nvPr/>
        </p:nvSpPr>
        <p:spPr>
          <a:xfrm flipH="1">
            <a:off x="10248086" y="1783575"/>
            <a:ext cx="1289896"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المقر الرئيسي</a:t>
            </a:r>
          </a:p>
        </p:txBody>
      </p:sp>
      <p:sp>
        <p:nvSpPr>
          <p:cNvPr id="26" name="Rectangle 25">
            <a:extLst>
              <a:ext uri="{FF2B5EF4-FFF2-40B4-BE49-F238E27FC236}">
                <a16:creationId xmlns:a16="http://schemas.microsoft.com/office/drawing/2014/main" id="{D3D664AD-0B0B-4353-8306-E8EECDC790CB}"/>
              </a:ext>
            </a:extLst>
          </p:cNvPr>
          <p:cNvSpPr/>
          <p:nvPr/>
        </p:nvSpPr>
        <p:spPr>
          <a:xfrm flipH="1">
            <a:off x="8551806" y="1783575"/>
            <a:ext cx="1668145"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مدينة ملبورن، أستراليا</a:t>
            </a:r>
          </a:p>
        </p:txBody>
      </p:sp>
      <p:sp>
        <p:nvSpPr>
          <p:cNvPr id="27" name="Rectangle 26">
            <a:extLst>
              <a:ext uri="{FF2B5EF4-FFF2-40B4-BE49-F238E27FC236}">
                <a16:creationId xmlns:a16="http://schemas.microsoft.com/office/drawing/2014/main" id="{FD222C26-51C3-4AD1-9C3C-36CD7578451D}"/>
              </a:ext>
            </a:extLst>
          </p:cNvPr>
          <p:cNvSpPr/>
          <p:nvPr/>
        </p:nvSpPr>
        <p:spPr>
          <a:xfrm flipH="1">
            <a:off x="10248088" y="2479523"/>
            <a:ext cx="1289894"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سنة الإطلاق</a:t>
            </a:r>
          </a:p>
        </p:txBody>
      </p:sp>
      <p:sp>
        <p:nvSpPr>
          <p:cNvPr id="28" name="Rectangle 27">
            <a:extLst>
              <a:ext uri="{FF2B5EF4-FFF2-40B4-BE49-F238E27FC236}">
                <a16:creationId xmlns:a16="http://schemas.microsoft.com/office/drawing/2014/main" id="{8943BB8D-E382-4F93-89C9-C17F3206CB8B}"/>
              </a:ext>
            </a:extLst>
          </p:cNvPr>
          <p:cNvSpPr/>
          <p:nvPr/>
        </p:nvSpPr>
        <p:spPr>
          <a:xfrm flipH="1">
            <a:off x="8551804" y="2479523"/>
            <a:ext cx="1668147"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2010</a:t>
            </a:r>
          </a:p>
        </p:txBody>
      </p:sp>
      <p:sp>
        <p:nvSpPr>
          <p:cNvPr id="29" name="Rectangle 28">
            <a:extLst>
              <a:ext uri="{FF2B5EF4-FFF2-40B4-BE49-F238E27FC236}">
                <a16:creationId xmlns:a16="http://schemas.microsoft.com/office/drawing/2014/main" id="{DB35E17E-37F1-4B9E-9578-550F2E8B9F10}"/>
              </a:ext>
            </a:extLst>
          </p:cNvPr>
          <p:cNvSpPr/>
          <p:nvPr/>
        </p:nvSpPr>
        <p:spPr>
          <a:xfrm flipH="1">
            <a:off x="10248090" y="3175471"/>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النوع</a:t>
            </a:r>
          </a:p>
        </p:txBody>
      </p:sp>
      <p:sp>
        <p:nvSpPr>
          <p:cNvPr id="30" name="Rectangle 29">
            <a:extLst>
              <a:ext uri="{FF2B5EF4-FFF2-40B4-BE49-F238E27FC236}">
                <a16:creationId xmlns:a16="http://schemas.microsoft.com/office/drawing/2014/main" id="{49CFCD80-62F1-41F7-AFD4-1AC1B66448DD}"/>
              </a:ext>
            </a:extLst>
          </p:cNvPr>
          <p:cNvSpPr/>
          <p:nvPr/>
        </p:nvSpPr>
        <p:spPr>
          <a:xfrm flipH="1">
            <a:off x="8551802" y="3175471"/>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جهة حكومية</a:t>
            </a:r>
          </a:p>
        </p:txBody>
      </p:sp>
      <p:cxnSp>
        <p:nvCxnSpPr>
          <p:cNvPr id="31" name="Straight Connector 30">
            <a:extLst>
              <a:ext uri="{FF2B5EF4-FFF2-40B4-BE49-F238E27FC236}">
                <a16:creationId xmlns:a16="http://schemas.microsoft.com/office/drawing/2014/main" id="{EFECA277-9279-42E1-BDA0-E9746F01CB4D}"/>
              </a:ext>
            </a:extLst>
          </p:cNvPr>
          <p:cNvCxnSpPr>
            <a:cxnSpLocks/>
          </p:cNvCxnSpPr>
          <p:nvPr/>
        </p:nvCxnSpPr>
        <p:spPr>
          <a:xfrm flipH="1">
            <a:off x="8212536" y="1763125"/>
            <a:ext cx="0" cy="443889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D16F9D4-BB07-4CE9-AE2A-263501361ABE}"/>
              </a:ext>
            </a:extLst>
          </p:cNvPr>
          <p:cNvSpPr/>
          <p:nvPr/>
        </p:nvSpPr>
        <p:spPr>
          <a:xfrm flipH="1">
            <a:off x="10248090" y="3871419"/>
            <a:ext cx="1289892" cy="579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عدد المدن المرصودة</a:t>
            </a:r>
          </a:p>
        </p:txBody>
      </p:sp>
      <p:sp>
        <p:nvSpPr>
          <p:cNvPr id="33" name="Rectangle 32">
            <a:extLst>
              <a:ext uri="{FF2B5EF4-FFF2-40B4-BE49-F238E27FC236}">
                <a16:creationId xmlns:a16="http://schemas.microsoft.com/office/drawing/2014/main" id="{FB6C0ED6-89C0-4EEB-9A1D-8C91303AC347}"/>
              </a:ext>
            </a:extLst>
          </p:cNvPr>
          <p:cNvSpPr/>
          <p:nvPr/>
        </p:nvSpPr>
        <p:spPr>
          <a:xfrm flipH="1">
            <a:off x="8551802" y="3871419"/>
            <a:ext cx="1668149" cy="579759"/>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400" b="0" i="0" u="none" strike="noStrike" cap="none" normalizeH="0" baseline="0" noProof="0">
                <a:ln>
                  <a:noFill/>
                </a:ln>
                <a:solidFill>
                  <a:srgbClr val="282560"/>
                </a:solidFill>
                <a:effectLst/>
                <a:uLnTx/>
                <a:uFillTx/>
                <a:latin typeface="DIN Next LT Arabic"/>
                <a:ea typeface="+mn-ea"/>
                <a:cs typeface="+mn-cs"/>
              </a:rPr>
              <a:t>جميع مدن البلد بأكملها</a:t>
            </a:r>
          </a:p>
        </p:txBody>
      </p:sp>
      <p:sp>
        <p:nvSpPr>
          <p:cNvPr id="34" name="Rectangle 33">
            <a:extLst>
              <a:ext uri="{FF2B5EF4-FFF2-40B4-BE49-F238E27FC236}">
                <a16:creationId xmlns:a16="http://schemas.microsoft.com/office/drawing/2014/main" id="{EFD9350E-0741-4E95-8221-F1EFCFD8167A}"/>
              </a:ext>
            </a:extLst>
          </p:cNvPr>
          <p:cNvSpPr/>
          <p:nvPr/>
        </p:nvSpPr>
        <p:spPr>
          <a:xfrm flipH="1">
            <a:off x="10248090" y="4567369"/>
            <a:ext cx="1289892" cy="1621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r" defTabSz="914400" rtl="1" eaLnBrk="1" fontAlgn="t" latinLnBrk="0" hangingPunct="1">
              <a:lnSpc>
                <a:spcPct val="100000"/>
              </a:lnSpc>
              <a:spcBef>
                <a:spcPts val="0"/>
              </a:spcBef>
              <a:spcAft>
                <a:spcPts val="0"/>
              </a:spcAft>
              <a:buClrTx/>
              <a:buSzTx/>
              <a:buFontTx/>
              <a:buNone/>
              <a:tabLst/>
              <a:defRPr/>
            </a:pPr>
            <a:r>
              <a:rPr kumimoji="0" lang="ar-SA" sz="1400" b="1" i="0" u="none" strike="noStrike" cap="none" normalizeH="0" baseline="0" noProof="0">
                <a:ln>
                  <a:noFill/>
                </a:ln>
                <a:solidFill>
                  <a:prstClr val="white"/>
                </a:solidFill>
                <a:effectLst/>
                <a:uLnTx/>
                <a:uFillTx/>
                <a:latin typeface="DIN Next LT Arabic"/>
                <a:ea typeface="+mn-ea"/>
                <a:cs typeface="+mn-cs"/>
              </a:rPr>
              <a:t>أنواع المستخدمين</a:t>
            </a:r>
            <a:r>
              <a:rPr kumimoji="0" lang="ar-EG" sz="1400" b="1" i="0" u="none" strike="noStrike" cap="none" normalizeH="0" baseline="0" noProof="0">
                <a:ln>
                  <a:noFill/>
                </a:ln>
                <a:solidFill>
                  <a:prstClr val="white"/>
                </a:solidFill>
                <a:effectLst/>
                <a:uLnTx/>
                <a:uFillTx/>
                <a:latin typeface="DIN Next LT Arabic"/>
                <a:ea typeface="+mn-ea"/>
                <a:cs typeface="+mn-cs"/>
              </a:rPr>
              <a:t> والعملاء</a:t>
            </a:r>
            <a:endParaRPr kumimoji="0" lang="ar-SA" sz="1400" b="1" i="0" u="none" strike="noStrike" cap="none" normalizeH="0" baseline="0" noProof="0">
              <a:ln>
                <a:noFill/>
              </a:ln>
              <a:solidFill>
                <a:prstClr val="white"/>
              </a:solidFill>
              <a:effectLst/>
              <a:uLnTx/>
              <a:uFillTx/>
              <a:latin typeface="DIN Next LT Arabic"/>
              <a:ea typeface="+mn-ea"/>
              <a:cs typeface="+mn-cs"/>
            </a:endParaRPr>
          </a:p>
        </p:txBody>
      </p:sp>
      <p:sp>
        <p:nvSpPr>
          <p:cNvPr id="35" name="Rectangle 34">
            <a:extLst>
              <a:ext uri="{FF2B5EF4-FFF2-40B4-BE49-F238E27FC236}">
                <a16:creationId xmlns:a16="http://schemas.microsoft.com/office/drawing/2014/main" id="{310A1B55-3F5C-4927-93B2-01043CB3DF65}"/>
              </a:ext>
            </a:extLst>
          </p:cNvPr>
          <p:cNvSpPr/>
          <p:nvPr/>
        </p:nvSpPr>
        <p:spPr>
          <a:xfrm flipH="1">
            <a:off x="8551802" y="4567369"/>
            <a:ext cx="1668149" cy="1621728"/>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indent="-137160" algn="r" rtl="1">
              <a:buFont typeface="Arial" panose="020B0604020202020204" pitchFamily="34" charset="0"/>
              <a:buChar char="•"/>
              <a:defRPr/>
            </a:pPr>
            <a:r>
              <a:rPr lang="ar-SA" sz="1400">
                <a:solidFill>
                  <a:srgbClr val="282560"/>
                </a:solidFill>
                <a:latin typeface="DIN Next LT Arabic"/>
              </a:rPr>
              <a:t>الأوساط الحكومية</a:t>
            </a:r>
          </a:p>
          <a:p>
            <a:pPr marL="137160" indent="-137160" algn="r" rtl="1">
              <a:buFont typeface="Arial" panose="020B0604020202020204" pitchFamily="34" charset="0"/>
              <a:buChar char="•"/>
              <a:defRPr/>
            </a:pPr>
            <a:r>
              <a:rPr lang="ar-SA" sz="1400">
                <a:solidFill>
                  <a:srgbClr val="282560"/>
                </a:solidFill>
                <a:latin typeface="DIN Next LT Arabic"/>
                <a:cs typeface="DIN Next LT Arabic"/>
              </a:rPr>
              <a:t>الأوساط الصناعية</a:t>
            </a:r>
          </a:p>
          <a:p>
            <a:pPr marL="137160" indent="-137160" algn="r" rtl="1">
              <a:buFont typeface="Arial" panose="020B0604020202020204" pitchFamily="34" charset="0"/>
              <a:buChar char="•"/>
              <a:defRPr/>
            </a:pPr>
            <a:r>
              <a:rPr lang="ar-SA" sz="1400">
                <a:solidFill>
                  <a:srgbClr val="282560"/>
                </a:solidFill>
                <a:latin typeface="DIN Next LT Arabic"/>
                <a:cs typeface="DIN Next LT Arabic"/>
              </a:rPr>
              <a:t>الباحثون</a:t>
            </a:r>
          </a:p>
        </p:txBody>
      </p:sp>
      <p:sp>
        <p:nvSpPr>
          <p:cNvPr id="36" name="Rectangle 35">
            <a:extLst>
              <a:ext uri="{FF2B5EF4-FFF2-40B4-BE49-F238E27FC236}">
                <a16:creationId xmlns:a16="http://schemas.microsoft.com/office/drawing/2014/main" id="{72C4A808-7503-426E-96B9-1E12E2483D0A}"/>
              </a:ext>
            </a:extLst>
          </p:cNvPr>
          <p:cNvSpPr/>
          <p:nvPr/>
        </p:nvSpPr>
        <p:spPr>
          <a:xfrm flipH="1">
            <a:off x="645160" y="3816526"/>
            <a:ext cx="7248469" cy="237187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indent="-137160" algn="r" rtl="1">
              <a:buFont typeface="Arial" panose="020B0604020202020204" pitchFamily="34" charset="0"/>
              <a:buChar char="•"/>
              <a:defRPr/>
            </a:pPr>
            <a:r>
              <a:rPr lang="ar-SA" sz="1400">
                <a:solidFill>
                  <a:srgbClr val="282560"/>
                </a:solidFill>
                <a:latin typeface="DIN Next LT Arabic"/>
                <a:cs typeface="DIN Next LT Arabic"/>
              </a:rPr>
              <a:t>توفر الشبكة البنية التحتية الإلكترونية ودعم الخبراء في الأبحاث الإلكترونية وذلك للباحثين في العلوم الحضرية والإقليمية والاجتماعية العاملين في الأوساط الأكاديمية والحكومية والصناعية</a:t>
            </a:r>
          </a:p>
          <a:p>
            <a:pPr marL="137160" indent="-137160" algn="r" rtl="1">
              <a:buFont typeface="Arial" panose="020B0604020202020204" pitchFamily="34" charset="0"/>
              <a:buChar char="•"/>
              <a:defRPr/>
            </a:pPr>
            <a:r>
              <a:rPr lang="ar-SA" sz="1400">
                <a:solidFill>
                  <a:srgbClr val="282560"/>
                </a:solidFill>
                <a:latin typeface="DIN Next LT Arabic"/>
                <a:cs typeface="DIN Next LT Arabic"/>
              </a:rPr>
              <a:t>تساهم الشبكة في تسهيل عمليات التطوير والنشر والدعم طويل المدى المتعلقة بالبيانات المتقدمة والأساليب التحليلية ونماذج المحاكاة والقدرة على تحويل البيانات إلى صور مرئية وذلك بهدف اعتماد أبحاث ذات تأثير قوي داخل الأوساط الحكومية والصناعية في جميع أنحاء أستراليا</a:t>
            </a:r>
          </a:p>
          <a:p>
            <a:pPr marL="137160" indent="-137160" algn="r" rtl="1">
              <a:buFont typeface="Arial" panose="020B0604020202020204" pitchFamily="34" charset="0"/>
              <a:buChar char="•"/>
              <a:defRPr/>
            </a:pPr>
            <a:r>
              <a:rPr kumimoji="0" lang="ar-SA" sz="1400" b="0" i="0" u="none" strike="noStrike" cap="none" normalizeH="0" baseline="0" noProof="0">
                <a:ln>
                  <a:noFill/>
                </a:ln>
                <a:solidFill>
                  <a:srgbClr val="282560"/>
                </a:solidFill>
                <a:effectLst/>
                <a:uLnTx/>
                <a:uFillTx/>
                <a:latin typeface="DIN Next LT Arabic"/>
                <a:ea typeface="+mn-ea"/>
                <a:cs typeface="DIN Next LT Arabic"/>
              </a:rPr>
              <a:t>تعمل الشبكة على تبسيط عمليات التواصل بين كل من الباحثين وموفري البيانات ومسؤولي إعداد السياسات والممارسين في المجال، بالإضافة إلى دعم الطلب المتزايد على الوصول مفتوح المصدر واتخاذ القرار بالاستناد إلى الأدلة</a:t>
            </a:r>
          </a:p>
          <a:p>
            <a:pPr marL="137160" indent="-137160" algn="r" rtl="1">
              <a:buFont typeface="Arial" panose="020B0604020202020204" pitchFamily="34" charset="0"/>
              <a:buChar char="•"/>
              <a:defRPr/>
            </a:pPr>
            <a:r>
              <a:rPr kumimoji="0" lang="ar-SA" sz="1400" b="0" i="0" u="none" strike="noStrike" cap="none" normalizeH="0" baseline="0" noProof="0">
                <a:ln>
                  <a:noFill/>
                </a:ln>
                <a:solidFill>
                  <a:srgbClr val="282560"/>
                </a:solidFill>
                <a:effectLst/>
                <a:uLnTx/>
                <a:uFillTx/>
                <a:latin typeface="DIN Next LT Arabic"/>
                <a:ea typeface="+mn-ea"/>
                <a:cs typeface="DIN Next LT Arabic"/>
              </a:rPr>
              <a:t>توفر الشبكة منصة عمل شاملة عبر الإنترنت تتيح الوصول إلى الآلاف من مجموعات البيانات ذات تخصصات متعددة واردة من أكثر من 100 مصدر مختلف</a:t>
            </a:r>
            <a:r>
              <a:rPr kumimoji="0" lang="ar-EG" sz="1400" b="0" i="0" u="none" strike="noStrike" cap="none" normalizeH="0" baseline="0" noProof="0">
                <a:ln>
                  <a:noFill/>
                </a:ln>
                <a:solidFill>
                  <a:srgbClr val="282560"/>
                </a:solidFill>
                <a:effectLst/>
                <a:uLnTx/>
                <a:uFillTx/>
                <a:latin typeface="DIN Next LT Arabic"/>
                <a:ea typeface="+mn-ea"/>
                <a:cs typeface="DIN Next LT Arabic"/>
              </a:rPr>
              <a:t> للبيانات</a:t>
            </a:r>
            <a:endParaRPr kumimoji="0" lang="ar-SA" sz="1400" b="0" i="0" u="none" strike="noStrike" cap="none" normalizeH="0" baseline="0" noProof="0">
              <a:ln>
                <a:noFill/>
              </a:ln>
              <a:solidFill>
                <a:srgbClr val="282560"/>
              </a:solidFill>
              <a:effectLst/>
              <a:uLnTx/>
              <a:uFillTx/>
              <a:latin typeface="DIN Next LT Arabic"/>
              <a:ea typeface="+mn-ea"/>
              <a:cs typeface="DIN Next LT Arabic"/>
            </a:endParaRPr>
          </a:p>
        </p:txBody>
      </p:sp>
      <p:sp>
        <p:nvSpPr>
          <p:cNvPr id="37" name="TextBox 36">
            <a:extLst>
              <a:ext uri="{FF2B5EF4-FFF2-40B4-BE49-F238E27FC236}">
                <a16:creationId xmlns:a16="http://schemas.microsoft.com/office/drawing/2014/main" id="{7EC9A3EE-E462-4697-89D7-5BFF07EDD66C}"/>
              </a:ext>
            </a:extLst>
          </p:cNvPr>
          <p:cNvSpPr txBox="1"/>
          <p:nvPr/>
        </p:nvSpPr>
        <p:spPr>
          <a:xfrm>
            <a:off x="3729328" y="3660361"/>
            <a:ext cx="1080134" cy="312330"/>
          </a:xfrm>
          <a:prstGeom prst="rect">
            <a:avLst/>
          </a:prstGeom>
          <a:solidFill>
            <a:schemeClr val="bg1"/>
          </a:solidFill>
        </p:spPr>
        <p:txBody>
          <a:bodyPr wrap="square" lIns="0" tIns="0" rIns="0" bIns="0" rtlCol="0" anchor="b">
            <a:spAutoFit/>
          </a:bodyPr>
          <a:lstStyle/>
          <a:p>
            <a:pPr marL="0" marR="0" lvl="0" indent="0" algn="ctr" defTabSz="914400" rtl="1" eaLnBrk="1" fontAlgn="auto" latinLnBrk="0" hangingPunct="1">
              <a:lnSpc>
                <a:spcPct val="110000"/>
              </a:lnSpc>
              <a:spcBef>
                <a:spcPts val="0"/>
              </a:spcBef>
              <a:spcAft>
                <a:spcPts val="0"/>
              </a:spcAft>
              <a:buClrTx/>
              <a:buSzTx/>
              <a:buFontTx/>
              <a:buNone/>
              <a:tabLst/>
              <a:defRPr/>
            </a:pPr>
            <a:r>
              <a:rPr kumimoji="0" lang="ar-SA" sz="2000" b="0" i="0" u="none" strike="noStrike" cap="none" normalizeH="0" baseline="0" noProof="0">
                <a:ln>
                  <a:noFill/>
                </a:ln>
                <a:solidFill>
                  <a:srgbClr val="90298D"/>
                </a:solidFill>
                <a:effectLst/>
                <a:uLnTx/>
                <a:uFillTx/>
                <a:latin typeface="DIN Next LT Arabic Medium"/>
                <a:ea typeface="+mn-ea"/>
                <a:cs typeface="DIN Next LT Arabic" panose="020B0503020203050203" pitchFamily="34" charset="-78"/>
              </a:rPr>
              <a:t>الخدمات</a:t>
            </a:r>
          </a:p>
        </p:txBody>
      </p:sp>
      <p:sp>
        <p:nvSpPr>
          <p:cNvPr id="44" name="Isosceles Triangle 43">
            <a:extLst>
              <a:ext uri="{FF2B5EF4-FFF2-40B4-BE49-F238E27FC236}">
                <a16:creationId xmlns:a16="http://schemas.microsoft.com/office/drawing/2014/main" id="{C7AA78A3-9C50-4D16-BA80-39A45C4446AD}"/>
              </a:ext>
            </a:extLst>
          </p:cNvPr>
          <p:cNvSpPr/>
          <p:nvPr/>
        </p:nvSpPr>
        <p:spPr>
          <a:xfrm rot="10800000" flipH="1">
            <a:off x="1006810" y="3329940"/>
            <a:ext cx="6525170" cy="27604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pic>
        <p:nvPicPr>
          <p:cNvPr id="42" name="Picture 41">
            <a:extLst>
              <a:ext uri="{FF2B5EF4-FFF2-40B4-BE49-F238E27FC236}">
                <a16:creationId xmlns:a16="http://schemas.microsoft.com/office/drawing/2014/main" id="{92FA5172-9C6C-4278-826F-4646FC89D80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43" name="Rectangle: Rounded Corners 42">
            <a:extLst>
              <a:ext uri="{FF2B5EF4-FFF2-40B4-BE49-F238E27FC236}">
                <a16:creationId xmlns:a16="http://schemas.microsoft.com/office/drawing/2014/main" id="{E0F43A75-240E-454B-8583-035EA0CDF812}"/>
              </a:ext>
            </a:extLst>
          </p:cNvPr>
          <p:cNvSpPr/>
          <p:nvPr/>
        </p:nvSpPr>
        <p:spPr>
          <a:xfrm>
            <a:off x="62752" y="69564"/>
            <a:ext cx="1678584" cy="228609"/>
          </a:xfrm>
          <a:prstGeom prst="roundRect">
            <a:avLst>
              <a:gd name="adj" fmla="val 14234"/>
            </a:avLst>
          </a:prstGeom>
          <a:solidFill>
            <a:srgbClr val="2825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1- نظرة عامة</a:t>
            </a:r>
          </a:p>
        </p:txBody>
      </p:sp>
    </p:spTree>
    <p:extLst>
      <p:ext uri="{BB962C8B-B14F-4D97-AF65-F5344CB8AC3E}">
        <p14:creationId xmlns:p14="http://schemas.microsoft.com/office/powerpoint/2010/main" val="10180743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62EDB-4051-44E6-9B11-B8E9CDD23A05}"/>
              </a:ext>
            </a:extLst>
          </p:cNvPr>
          <p:cNvGraphicFramePr>
            <a:graphicFrameLocks noChangeAspect="1"/>
          </p:cNvGraphicFramePr>
          <p:nvPr>
            <p:custDataLst>
              <p:tags r:id="rId2"/>
            </p:custDataLst>
            <p:extLst>
              <p:ext uri="{D42A27DB-BD31-4B8C-83A1-F6EECF244321}">
                <p14:modId xmlns:p14="http://schemas.microsoft.com/office/powerpoint/2010/main" val="2862805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1"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6AC62EDB-4051-44E6-9B11-B8E9CDD23A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4E8A0EB-2388-4D2C-B071-EDB10F10BE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63" name="Footer Placeholder 62">
            <a:extLst>
              <a:ext uri="{FF2B5EF4-FFF2-40B4-BE49-F238E27FC236}">
                <a16:creationId xmlns:a16="http://schemas.microsoft.com/office/drawing/2014/main" id="{E9EDC3D5-552F-4375-960A-03360B348159}"/>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42" name="Slide Number Placeholder 4">
            <a:extLst>
              <a:ext uri="{FF2B5EF4-FFF2-40B4-BE49-F238E27FC236}">
                <a16:creationId xmlns:a16="http://schemas.microsoft.com/office/drawing/2014/main" id="{81852669-82BC-400B-A982-E9199ED9ECF3}"/>
              </a:ext>
            </a:extLst>
          </p:cNvPr>
          <p:cNvSpPr>
            <a:spLocks noGrp="1"/>
          </p:cNvSpPr>
          <p:nvPr>
            <p:ph type="sldNum" sz="quarter" idx="12"/>
          </p:nvPr>
        </p:nvSpPr>
        <p:spPr/>
        <p:txBody>
          <a:bodyPr/>
          <a:lstStyle/>
          <a:p>
            <a:pPr lvl="0"/>
            <a:fld id="{9FDB499F-DC86-4996-A3C7-FCE8E06389C2}" type="slidenum">
              <a:rPr lang="ar-SA" noProof="0" smtClean="0"/>
              <a:pPr lvl="0"/>
              <a:t>20</a:t>
            </a:fld>
            <a:endParaRPr lang="ar-SA" noProof="0"/>
          </a:p>
        </p:txBody>
      </p:sp>
      <p:sp>
        <p:nvSpPr>
          <p:cNvPr id="4" name="Title 4">
            <a:extLst>
              <a:ext uri="{FF2B5EF4-FFF2-40B4-BE49-F238E27FC236}">
                <a16:creationId xmlns:a16="http://schemas.microsoft.com/office/drawing/2014/main" id="{02B0A86E-6DDB-422B-94F4-8F224CB8FC49}"/>
              </a:ext>
            </a:extLst>
          </p:cNvPr>
          <p:cNvSpPr>
            <a:spLocks noGrp="1"/>
          </p:cNvSpPr>
          <p:nvPr>
            <p:ph type="title"/>
          </p:nvPr>
        </p:nvSpPr>
        <p:spPr/>
        <p:txBody>
          <a:bodyPr vert="horz">
            <a:noAutofit/>
          </a:bodyPr>
          <a:lstStyle/>
          <a:p>
            <a:r>
              <a:rPr lang="ar-SA"/>
              <a:t>لقطات صورية للمنصة (4/ 4)</a:t>
            </a:r>
          </a:p>
        </p:txBody>
      </p:sp>
      <p:sp>
        <p:nvSpPr>
          <p:cNvPr id="17" name="Footer Placeholder 1">
            <a:extLst>
              <a:ext uri="{FF2B5EF4-FFF2-40B4-BE49-F238E27FC236}">
                <a16:creationId xmlns:a16="http://schemas.microsoft.com/office/drawing/2014/main" id="{7BA9EFCF-475E-4869-9AD5-77F08588F942}"/>
              </a:ext>
            </a:extLst>
          </p:cNvPr>
          <p:cNvSpPr txBox="1">
            <a:spLocks/>
          </p:cNvSpPr>
          <p:nvPr/>
        </p:nvSpPr>
        <p:spPr>
          <a:xfrm>
            <a:off x="645160" y="6446520"/>
            <a:ext cx="8140700" cy="274957"/>
          </a:xfrm>
          <a:prstGeom prst="rect">
            <a:avLst/>
          </a:prstGeom>
        </p:spPr>
        <p:txBody>
          <a:bodyPr vert="horz" lIns="91440" tIns="45720" rIns="91440" bIns="45720" rtlCol="1" anchor="b"/>
          <a:lstStyle>
            <a:defPPr>
              <a:defRPr lang="en-US"/>
            </a:defPPr>
            <a:lvl1pPr>
              <a:defRPr sz="900">
                <a:solidFill>
                  <a:schemeClr val="bg1">
                    <a:lumMod val="65000"/>
                  </a:schemeClr>
                </a:solidFill>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endParaRPr lang="ar-SA"/>
          </a:p>
        </p:txBody>
      </p:sp>
      <p:sp>
        <p:nvSpPr>
          <p:cNvPr id="56" name="TextBox 55">
            <a:extLst>
              <a:ext uri="{FF2B5EF4-FFF2-40B4-BE49-F238E27FC236}">
                <a16:creationId xmlns:a16="http://schemas.microsoft.com/office/drawing/2014/main" id="{2D0F4F66-8DC2-4539-B335-6079EC77D991}"/>
              </a:ext>
            </a:extLst>
          </p:cNvPr>
          <p:cNvSpPr txBox="1"/>
          <p:nvPr/>
        </p:nvSpPr>
        <p:spPr>
          <a:xfrm flipH="1">
            <a:off x="921705" y="5636025"/>
            <a:ext cx="10432270" cy="461665"/>
          </a:xfrm>
          <a:prstGeom prst="rect">
            <a:avLst/>
          </a:prstGeom>
          <a:noFill/>
        </p:spPr>
        <p:txBody>
          <a:bodyPr wrap="square" rtlCol="0">
            <a:spAutoFit/>
          </a:bodyPr>
          <a:lstStyle>
            <a:defPPr>
              <a:defRPr lang="en-US"/>
            </a:defPPr>
            <a:lvl1pPr>
              <a:defRPr sz="1200"/>
            </a:lvl1pPr>
          </a:lstStyle>
          <a:p>
            <a:pPr algn="r" rtl="1"/>
            <a:r>
              <a:rPr lang="ar-SA"/>
              <a:t>يمكن لمستخدمي بوابة «الشبكة الأسترالية للبنية التحتية للأبحاث الحضرية» تحديد المنطقة حسب اهتماماتهم وفقاً لعدد من التصنيفات الجغرافية المتاحة من خلال القائمة المنسدلة. وبعد اختيار المنطقة يتيح قسم "البيانات" (</a:t>
            </a:r>
            <a:r>
              <a:rPr lang="en-US"/>
              <a:t>Data</a:t>
            </a:r>
            <a:r>
              <a:rPr lang="ar-SA"/>
              <a:t>) الموجود على اللوحة اليمنى للمستخدمين إمكانية إضافة مجموعات البيانات المتوفرة للمنطقة المحددة</a:t>
            </a:r>
          </a:p>
        </p:txBody>
      </p:sp>
      <p:pic>
        <p:nvPicPr>
          <p:cNvPr id="6" name="Picture 5">
            <a:extLst>
              <a:ext uri="{FF2B5EF4-FFF2-40B4-BE49-F238E27FC236}">
                <a16:creationId xmlns:a16="http://schemas.microsoft.com/office/drawing/2014/main" id="{6DEE8150-B668-46D1-89CD-199A6A45BEF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460030" y="2217386"/>
            <a:ext cx="3589320" cy="2752430"/>
          </a:xfrm>
          <a:prstGeom prst="rect">
            <a:avLst/>
          </a:prstGeom>
          <a:effectLst>
            <a:outerShdw blurRad="127000" sx="96000" sy="96000" algn="ctr" rotWithShape="0">
              <a:prstClr val="black">
                <a:alpha val="40000"/>
              </a:prstClr>
            </a:outerShdw>
          </a:effectLst>
        </p:spPr>
      </p:pic>
      <p:pic>
        <p:nvPicPr>
          <p:cNvPr id="8" name="Picture 7">
            <a:extLst>
              <a:ext uri="{FF2B5EF4-FFF2-40B4-BE49-F238E27FC236}">
                <a16:creationId xmlns:a16="http://schemas.microsoft.com/office/drawing/2014/main" id="{070B2E6A-FF46-4D72-B289-F04B9247A8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291175" y="4132127"/>
            <a:ext cx="2404602" cy="1327638"/>
          </a:xfrm>
          <a:prstGeom prst="rect">
            <a:avLst/>
          </a:prstGeom>
          <a:effectLst>
            <a:outerShdw blurRad="127000" sx="96000" sy="96000" algn="ctr" rotWithShape="0">
              <a:prstClr val="black">
                <a:alpha val="40000"/>
              </a:prstClr>
            </a:outerShdw>
          </a:effectLst>
        </p:spPr>
      </p:pic>
      <p:sp>
        <p:nvSpPr>
          <p:cNvPr id="41" name="Isosceles Triangle 40">
            <a:extLst>
              <a:ext uri="{FF2B5EF4-FFF2-40B4-BE49-F238E27FC236}">
                <a16:creationId xmlns:a16="http://schemas.microsoft.com/office/drawing/2014/main" id="{3EE3D4B7-83FD-4255-AD41-7D221D5A9D57}"/>
              </a:ext>
            </a:extLst>
          </p:cNvPr>
          <p:cNvSpPr/>
          <p:nvPr/>
        </p:nvSpPr>
        <p:spPr>
          <a:xfrm rot="16200000" flipH="1">
            <a:off x="5028866" y="3667306"/>
            <a:ext cx="3078688" cy="392283"/>
          </a:xfrm>
          <a:prstGeom prst="triangle">
            <a:avLst>
              <a:gd name="adj" fmla="val 4946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36" name="Rectangle 35">
            <a:extLst>
              <a:ext uri="{FF2B5EF4-FFF2-40B4-BE49-F238E27FC236}">
                <a16:creationId xmlns:a16="http://schemas.microsoft.com/office/drawing/2014/main" id="{5C4A52CD-1966-44E0-A6B3-DA1F8F060C85}"/>
              </a:ext>
            </a:extLst>
          </p:cNvPr>
          <p:cNvSpPr/>
          <p:nvPr/>
        </p:nvSpPr>
        <p:spPr>
          <a:xfrm flipH="1">
            <a:off x="4666155" y="1599260"/>
            <a:ext cx="2250440" cy="516909"/>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91440" rIns="320040" rtlCol="0" anchor="ctr"/>
          <a:lstStyle/>
          <a:p>
            <a:pPr algn="r" rtl="1"/>
            <a:r>
              <a:rPr lang="ar-SA" sz="1200"/>
              <a:t>سهولة الاستخدام</a:t>
            </a:r>
          </a:p>
        </p:txBody>
      </p:sp>
      <p:sp>
        <p:nvSpPr>
          <p:cNvPr id="37" name="TextBox 36">
            <a:extLst>
              <a:ext uri="{FF2B5EF4-FFF2-40B4-BE49-F238E27FC236}">
                <a16:creationId xmlns:a16="http://schemas.microsoft.com/office/drawing/2014/main" id="{D76D0151-AF8D-4A1E-B2A1-9950498AAB2F}"/>
              </a:ext>
            </a:extLst>
          </p:cNvPr>
          <p:cNvSpPr txBox="1"/>
          <p:nvPr/>
        </p:nvSpPr>
        <p:spPr>
          <a:xfrm>
            <a:off x="6694716" y="1714800"/>
            <a:ext cx="171611" cy="248338"/>
          </a:xfrm>
          <a:prstGeom prst="rect">
            <a:avLst/>
          </a:prstGeom>
          <a:noFill/>
        </p:spPr>
        <p:txBody>
          <a:bodyPr wrap="square" lIns="0" tIns="0" rIns="0" bIns="0" rtlCol="0" anchor="ctr">
            <a:spAutoFit/>
          </a:bodyPr>
          <a:lstStyle/>
          <a:p>
            <a:pPr algn="ctr" rtl="1">
              <a:lnSpc>
                <a:spcPct val="110000"/>
              </a:lnSpc>
            </a:pPr>
            <a:r>
              <a:rPr lang="ar-SA" sz="1600">
                <a:solidFill>
                  <a:schemeClr val="bg1"/>
                </a:solidFill>
                <a:latin typeface="+mj-lt"/>
                <a:cs typeface="DIN Next LT Arabic" panose="020B0503020203050203" pitchFamily="34" charset="-78"/>
              </a:rPr>
              <a:t>ز</a:t>
            </a:r>
          </a:p>
        </p:txBody>
      </p:sp>
      <p:cxnSp>
        <p:nvCxnSpPr>
          <p:cNvPr id="38" name="Straight Connector 37">
            <a:extLst>
              <a:ext uri="{FF2B5EF4-FFF2-40B4-BE49-F238E27FC236}">
                <a16:creationId xmlns:a16="http://schemas.microsoft.com/office/drawing/2014/main" id="{A1F9C6AC-D921-4A04-B011-80F7163058AD}"/>
              </a:ext>
            </a:extLst>
          </p:cNvPr>
          <p:cNvCxnSpPr>
            <a:cxnSpLocks/>
          </p:cNvCxnSpPr>
          <p:nvPr/>
        </p:nvCxnSpPr>
        <p:spPr>
          <a:xfrm flipH="1">
            <a:off x="6654711" y="1763143"/>
            <a:ext cx="0" cy="189145"/>
          </a:xfrm>
          <a:prstGeom prst="line">
            <a:avLst/>
          </a:prstGeom>
          <a:ln>
            <a:gradFill flip="none" rotWithShape="1">
              <a:gsLst>
                <a:gs pos="7000">
                  <a:srgbClr val="4AC7F4"/>
                </a:gs>
                <a:gs pos="50000">
                  <a:schemeClr val="bg1"/>
                </a:gs>
                <a:gs pos="96000">
                  <a:srgbClr val="4AC7F4"/>
                </a:gs>
              </a:gsLst>
              <a:lin ang="5400000" scaled="1"/>
              <a:tileRect/>
            </a:gradFill>
          </a:ln>
        </p:spPr>
        <p:style>
          <a:lnRef idx="1">
            <a:schemeClr val="accent1"/>
          </a:lnRef>
          <a:fillRef idx="0">
            <a:schemeClr val="accent1"/>
          </a:fillRef>
          <a:effectRef idx="0">
            <a:schemeClr val="accent1"/>
          </a:effectRef>
          <a:fontRef idx="minor">
            <a:schemeClr val="tx1"/>
          </a:fontRef>
        </p:style>
      </p:cxnSp>
      <p:grpSp>
        <p:nvGrpSpPr>
          <p:cNvPr id="16" name="Graphic 175">
            <a:extLst>
              <a:ext uri="{FF2B5EF4-FFF2-40B4-BE49-F238E27FC236}">
                <a16:creationId xmlns:a16="http://schemas.microsoft.com/office/drawing/2014/main" id="{446A068C-D8A1-4EF8-9B0D-60C5B76EA4BF}"/>
              </a:ext>
            </a:extLst>
          </p:cNvPr>
          <p:cNvGrpSpPr/>
          <p:nvPr/>
        </p:nvGrpSpPr>
        <p:grpSpPr>
          <a:xfrm>
            <a:off x="4749213" y="1669154"/>
            <a:ext cx="377138" cy="377120"/>
            <a:chOff x="-96078" y="4142724"/>
            <a:chExt cx="609600" cy="609600"/>
          </a:xfrm>
          <a:solidFill>
            <a:schemeClr val="bg1"/>
          </a:solidFill>
        </p:grpSpPr>
        <p:sp>
          <p:nvSpPr>
            <p:cNvPr id="19" name="Freeform: Shape 18">
              <a:extLst>
                <a:ext uri="{FF2B5EF4-FFF2-40B4-BE49-F238E27FC236}">
                  <a16:creationId xmlns:a16="http://schemas.microsoft.com/office/drawing/2014/main" id="{040E8854-25A5-4CB2-ABAE-1CD5774AD454}"/>
                </a:ext>
              </a:extLst>
            </p:cNvPr>
            <p:cNvSpPr/>
            <p:nvPr/>
          </p:nvSpPr>
          <p:spPr>
            <a:xfrm>
              <a:off x="-53301"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20" name="Freeform: Shape 19">
              <a:extLst>
                <a:ext uri="{FF2B5EF4-FFF2-40B4-BE49-F238E27FC236}">
                  <a16:creationId xmlns:a16="http://schemas.microsoft.com/office/drawing/2014/main" id="{BB89C00B-BD91-46FB-B406-8F7E772FC37C}"/>
                </a:ext>
              </a:extLst>
            </p:cNvPr>
            <p:cNvSpPr/>
            <p:nvPr/>
          </p:nvSpPr>
          <p:spPr>
            <a:xfrm>
              <a:off x="384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21" name="Freeform: Shape 20">
              <a:extLst>
                <a:ext uri="{FF2B5EF4-FFF2-40B4-BE49-F238E27FC236}">
                  <a16:creationId xmlns:a16="http://schemas.microsoft.com/office/drawing/2014/main" id="{E573C874-B2BB-4356-B448-35C709DC5AB2}"/>
                </a:ext>
              </a:extLst>
            </p:cNvPr>
            <p:cNvSpPr/>
            <p:nvPr/>
          </p:nvSpPr>
          <p:spPr>
            <a:xfrm>
              <a:off x="60998" y="4180824"/>
              <a:ext cx="38100" cy="19050"/>
            </a:xfrm>
            <a:custGeom>
              <a:avLst/>
              <a:gdLst>
                <a:gd name="connsiteX0" fmla="*/ 9525 w 38100"/>
                <a:gd name="connsiteY0" fmla="*/ 19050 h 19050"/>
                <a:gd name="connsiteX1" fmla="*/ 28575 w 38100"/>
                <a:gd name="connsiteY1" fmla="*/ 19050 h 19050"/>
                <a:gd name="connsiteX2" fmla="*/ 38100 w 38100"/>
                <a:gd name="connsiteY2" fmla="*/ 9525 h 19050"/>
                <a:gd name="connsiteX3" fmla="*/ 28575 w 38100"/>
                <a:gd name="connsiteY3" fmla="*/ 0 h 19050"/>
                <a:gd name="connsiteX4" fmla="*/ 9525 w 38100"/>
                <a:gd name="connsiteY4" fmla="*/ 0 h 19050"/>
                <a:gd name="connsiteX5" fmla="*/ 0 w 38100"/>
                <a:gd name="connsiteY5" fmla="*/ 9525 h 19050"/>
                <a:gd name="connsiteX6" fmla="*/ 9525 w 381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9050">
                  <a:moveTo>
                    <a:pt x="9525" y="19050"/>
                  </a:moveTo>
                  <a:lnTo>
                    <a:pt x="28575" y="19050"/>
                  </a:lnTo>
                  <a:cubicBezTo>
                    <a:pt x="33833" y="19050"/>
                    <a:pt x="38100" y="14792"/>
                    <a:pt x="38100" y="9525"/>
                  </a:cubicBezTo>
                  <a:cubicBezTo>
                    <a:pt x="38100" y="4258"/>
                    <a:pt x="33833" y="0"/>
                    <a:pt x="28575" y="0"/>
                  </a:cubicBezTo>
                  <a:lnTo>
                    <a:pt x="9525" y="0"/>
                  </a:lnTo>
                  <a:cubicBezTo>
                    <a:pt x="4267" y="0"/>
                    <a:pt x="0" y="4258"/>
                    <a:pt x="0" y="9525"/>
                  </a:cubicBezTo>
                  <a:cubicBezTo>
                    <a:pt x="0" y="14792"/>
                    <a:pt x="4267" y="19050"/>
                    <a:pt x="9525" y="19050"/>
                  </a:cubicBezTo>
                  <a:close/>
                </a:path>
              </a:pathLst>
            </a:custGeom>
            <a:grpFill/>
            <a:ln w="9525" cap="flat">
              <a:noFill/>
              <a:prstDash val="solid"/>
              <a:miter/>
            </a:ln>
          </p:spPr>
          <p:txBody>
            <a:bodyPr rtlCol="0" anchor="ctr"/>
            <a:lstStyle/>
            <a:p>
              <a:pPr algn="r" rtl="1"/>
              <a:endParaRPr lang="en-US"/>
            </a:p>
          </p:txBody>
        </p:sp>
        <p:sp>
          <p:nvSpPr>
            <p:cNvPr id="23" name="Freeform: Shape 22">
              <a:extLst>
                <a:ext uri="{FF2B5EF4-FFF2-40B4-BE49-F238E27FC236}">
                  <a16:creationId xmlns:a16="http://schemas.microsoft.com/office/drawing/2014/main" id="{61B2386F-56D5-4E0A-8A7C-453621FCD4B5}"/>
                </a:ext>
              </a:extLst>
            </p:cNvPr>
            <p:cNvSpPr/>
            <p:nvPr/>
          </p:nvSpPr>
          <p:spPr>
            <a:xfrm>
              <a:off x="-96078" y="4142724"/>
              <a:ext cx="609600" cy="609600"/>
            </a:xfrm>
            <a:custGeom>
              <a:avLst/>
              <a:gdLst>
                <a:gd name="connsiteX0" fmla="*/ 561975 w 609600"/>
                <a:gd name="connsiteY0" fmla="*/ 361950 h 609600"/>
                <a:gd name="connsiteX1" fmla="*/ 533400 w 609600"/>
                <a:gd name="connsiteY1" fmla="*/ 361950 h 609600"/>
                <a:gd name="connsiteX2" fmla="*/ 533400 w 609600"/>
                <a:gd name="connsiteY2" fmla="*/ 276225 h 609600"/>
                <a:gd name="connsiteX3" fmla="*/ 504825 w 609600"/>
                <a:gd name="connsiteY3" fmla="*/ 247650 h 609600"/>
                <a:gd name="connsiteX4" fmla="*/ 419100 w 609600"/>
                <a:gd name="connsiteY4" fmla="*/ 247650 h 609600"/>
                <a:gd name="connsiteX5" fmla="*/ 419100 w 609600"/>
                <a:gd name="connsiteY5" fmla="*/ 28575 h 609600"/>
                <a:gd name="connsiteX6" fmla="*/ 390525 w 609600"/>
                <a:gd name="connsiteY6" fmla="*/ 0 h 609600"/>
                <a:gd name="connsiteX7" fmla="*/ 28575 w 609600"/>
                <a:gd name="connsiteY7" fmla="*/ 0 h 609600"/>
                <a:gd name="connsiteX8" fmla="*/ 0 w 609600"/>
                <a:gd name="connsiteY8" fmla="*/ 28575 h 609600"/>
                <a:gd name="connsiteX9" fmla="*/ 0 w 609600"/>
                <a:gd name="connsiteY9" fmla="*/ 419100 h 609600"/>
                <a:gd name="connsiteX10" fmla="*/ 38100 w 609600"/>
                <a:gd name="connsiteY10" fmla="*/ 457200 h 609600"/>
                <a:gd name="connsiteX11" fmla="*/ 381000 w 609600"/>
                <a:gd name="connsiteY11" fmla="*/ 457200 h 609600"/>
                <a:gd name="connsiteX12" fmla="*/ 419100 w 609600"/>
                <a:gd name="connsiteY12" fmla="*/ 419100 h 609600"/>
                <a:gd name="connsiteX13" fmla="*/ 419100 w 609600"/>
                <a:gd name="connsiteY13" fmla="*/ 266700 h 609600"/>
                <a:gd name="connsiteX14" fmla="*/ 504825 w 609600"/>
                <a:gd name="connsiteY14" fmla="*/ 266700 h 609600"/>
                <a:gd name="connsiteX15" fmla="*/ 514350 w 609600"/>
                <a:gd name="connsiteY15" fmla="*/ 276225 h 609600"/>
                <a:gd name="connsiteX16" fmla="*/ 514350 w 609600"/>
                <a:gd name="connsiteY16" fmla="*/ 361950 h 609600"/>
                <a:gd name="connsiteX17" fmla="*/ 485775 w 609600"/>
                <a:gd name="connsiteY17" fmla="*/ 361950 h 609600"/>
                <a:gd name="connsiteX18" fmla="*/ 438150 w 609600"/>
                <a:gd name="connsiteY18" fmla="*/ 409575 h 609600"/>
                <a:gd name="connsiteX19" fmla="*/ 438150 w 609600"/>
                <a:gd name="connsiteY19" fmla="*/ 561975 h 609600"/>
                <a:gd name="connsiteX20" fmla="*/ 485775 w 609600"/>
                <a:gd name="connsiteY20" fmla="*/ 609600 h 609600"/>
                <a:gd name="connsiteX21" fmla="*/ 561975 w 609600"/>
                <a:gd name="connsiteY21" fmla="*/ 609600 h 609600"/>
                <a:gd name="connsiteX22" fmla="*/ 609600 w 609600"/>
                <a:gd name="connsiteY22" fmla="*/ 561975 h 609600"/>
                <a:gd name="connsiteX23" fmla="*/ 609600 w 609600"/>
                <a:gd name="connsiteY23" fmla="*/ 409575 h 609600"/>
                <a:gd name="connsiteX24" fmla="*/ 561975 w 609600"/>
                <a:gd name="connsiteY24" fmla="*/ 361950 h 609600"/>
                <a:gd name="connsiteX25" fmla="*/ 28575 w 609600"/>
                <a:gd name="connsiteY25" fmla="*/ 19050 h 609600"/>
                <a:gd name="connsiteX26" fmla="*/ 390525 w 609600"/>
                <a:gd name="connsiteY26" fmla="*/ 19050 h 609600"/>
                <a:gd name="connsiteX27" fmla="*/ 400050 w 609600"/>
                <a:gd name="connsiteY27" fmla="*/ 28575 h 609600"/>
                <a:gd name="connsiteX28" fmla="*/ 400050 w 609600"/>
                <a:gd name="connsiteY28" fmla="*/ 76200 h 609600"/>
                <a:gd name="connsiteX29" fmla="*/ 19050 w 609600"/>
                <a:gd name="connsiteY29" fmla="*/ 76200 h 609600"/>
                <a:gd name="connsiteX30" fmla="*/ 19050 w 609600"/>
                <a:gd name="connsiteY30" fmla="*/ 28575 h 609600"/>
                <a:gd name="connsiteX31" fmla="*/ 28575 w 609600"/>
                <a:gd name="connsiteY31" fmla="*/ 19050 h 609600"/>
                <a:gd name="connsiteX32" fmla="*/ 400050 w 609600"/>
                <a:gd name="connsiteY32" fmla="*/ 419100 h 609600"/>
                <a:gd name="connsiteX33" fmla="*/ 381000 w 609600"/>
                <a:gd name="connsiteY33" fmla="*/ 438150 h 609600"/>
                <a:gd name="connsiteX34" fmla="*/ 38100 w 609600"/>
                <a:gd name="connsiteY34" fmla="*/ 438150 h 609600"/>
                <a:gd name="connsiteX35" fmla="*/ 19050 w 609600"/>
                <a:gd name="connsiteY35" fmla="*/ 419100 h 609600"/>
                <a:gd name="connsiteX36" fmla="*/ 19050 w 609600"/>
                <a:gd name="connsiteY36" fmla="*/ 95250 h 609600"/>
                <a:gd name="connsiteX37" fmla="*/ 400050 w 609600"/>
                <a:gd name="connsiteY37" fmla="*/ 95250 h 609600"/>
                <a:gd name="connsiteX38" fmla="*/ 400050 w 609600"/>
                <a:gd name="connsiteY38" fmla="*/ 419100 h 609600"/>
                <a:gd name="connsiteX39" fmla="*/ 590550 w 609600"/>
                <a:gd name="connsiteY39" fmla="*/ 561975 h 609600"/>
                <a:gd name="connsiteX40" fmla="*/ 561975 w 609600"/>
                <a:gd name="connsiteY40" fmla="*/ 590550 h 609600"/>
                <a:gd name="connsiteX41" fmla="*/ 485775 w 609600"/>
                <a:gd name="connsiteY41" fmla="*/ 590550 h 609600"/>
                <a:gd name="connsiteX42" fmla="*/ 457200 w 609600"/>
                <a:gd name="connsiteY42" fmla="*/ 561975 h 609600"/>
                <a:gd name="connsiteX43" fmla="*/ 457200 w 609600"/>
                <a:gd name="connsiteY43" fmla="*/ 409575 h 609600"/>
                <a:gd name="connsiteX44" fmla="*/ 485775 w 609600"/>
                <a:gd name="connsiteY44" fmla="*/ 381000 h 609600"/>
                <a:gd name="connsiteX45" fmla="*/ 561975 w 609600"/>
                <a:gd name="connsiteY45" fmla="*/ 381000 h 609600"/>
                <a:gd name="connsiteX46" fmla="*/ 590550 w 609600"/>
                <a:gd name="connsiteY46" fmla="*/ 409575 h 609600"/>
                <a:gd name="connsiteX47" fmla="*/ 590550 w 609600"/>
                <a:gd name="connsiteY47" fmla="*/ 56197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9600" h="609600">
                  <a:moveTo>
                    <a:pt x="561975" y="361950"/>
                  </a:moveTo>
                  <a:lnTo>
                    <a:pt x="533400" y="361950"/>
                  </a:lnTo>
                  <a:lnTo>
                    <a:pt x="533400" y="276225"/>
                  </a:lnTo>
                  <a:cubicBezTo>
                    <a:pt x="533400" y="260471"/>
                    <a:pt x="520579" y="247650"/>
                    <a:pt x="504825" y="247650"/>
                  </a:cubicBezTo>
                  <a:lnTo>
                    <a:pt x="419100" y="247650"/>
                  </a:lnTo>
                  <a:lnTo>
                    <a:pt x="419100" y="28575"/>
                  </a:lnTo>
                  <a:cubicBezTo>
                    <a:pt x="419100" y="12821"/>
                    <a:pt x="406279" y="0"/>
                    <a:pt x="390525" y="0"/>
                  </a:cubicBezTo>
                  <a:lnTo>
                    <a:pt x="28575" y="0"/>
                  </a:lnTo>
                  <a:cubicBezTo>
                    <a:pt x="12821" y="0"/>
                    <a:pt x="0" y="12821"/>
                    <a:pt x="0" y="28575"/>
                  </a:cubicBezTo>
                  <a:lnTo>
                    <a:pt x="0" y="419100"/>
                  </a:lnTo>
                  <a:cubicBezTo>
                    <a:pt x="0" y="440112"/>
                    <a:pt x="17088" y="457200"/>
                    <a:pt x="38100" y="457200"/>
                  </a:cubicBezTo>
                  <a:lnTo>
                    <a:pt x="381000" y="457200"/>
                  </a:lnTo>
                  <a:cubicBezTo>
                    <a:pt x="402012" y="457200"/>
                    <a:pt x="419100" y="440112"/>
                    <a:pt x="419100" y="419100"/>
                  </a:cubicBezTo>
                  <a:lnTo>
                    <a:pt x="419100" y="266700"/>
                  </a:lnTo>
                  <a:lnTo>
                    <a:pt x="504825" y="266700"/>
                  </a:lnTo>
                  <a:cubicBezTo>
                    <a:pt x="510073" y="266700"/>
                    <a:pt x="514350" y="270967"/>
                    <a:pt x="514350" y="276225"/>
                  </a:cubicBezTo>
                  <a:lnTo>
                    <a:pt x="514350" y="361950"/>
                  </a:lnTo>
                  <a:lnTo>
                    <a:pt x="485775" y="361950"/>
                  </a:lnTo>
                  <a:cubicBezTo>
                    <a:pt x="459515" y="361950"/>
                    <a:pt x="438150" y="383315"/>
                    <a:pt x="438150" y="409575"/>
                  </a:cubicBezTo>
                  <a:lnTo>
                    <a:pt x="438150" y="561975"/>
                  </a:lnTo>
                  <a:cubicBezTo>
                    <a:pt x="438150" y="588235"/>
                    <a:pt x="459515" y="609600"/>
                    <a:pt x="485775" y="609600"/>
                  </a:cubicBezTo>
                  <a:lnTo>
                    <a:pt x="561975" y="609600"/>
                  </a:lnTo>
                  <a:cubicBezTo>
                    <a:pt x="588235" y="609600"/>
                    <a:pt x="609600" y="588235"/>
                    <a:pt x="609600" y="561975"/>
                  </a:cubicBezTo>
                  <a:lnTo>
                    <a:pt x="609600" y="409575"/>
                  </a:lnTo>
                  <a:cubicBezTo>
                    <a:pt x="609600" y="383315"/>
                    <a:pt x="588235" y="361950"/>
                    <a:pt x="561975" y="361950"/>
                  </a:cubicBezTo>
                  <a:close/>
                  <a:moveTo>
                    <a:pt x="28575" y="19050"/>
                  </a:moveTo>
                  <a:lnTo>
                    <a:pt x="390525" y="19050"/>
                  </a:lnTo>
                  <a:cubicBezTo>
                    <a:pt x="395773" y="19050"/>
                    <a:pt x="400050" y="23317"/>
                    <a:pt x="400050" y="28575"/>
                  </a:cubicBezTo>
                  <a:lnTo>
                    <a:pt x="400050" y="76200"/>
                  </a:lnTo>
                  <a:lnTo>
                    <a:pt x="19050" y="76200"/>
                  </a:lnTo>
                  <a:lnTo>
                    <a:pt x="19050" y="28575"/>
                  </a:lnTo>
                  <a:cubicBezTo>
                    <a:pt x="19050" y="23317"/>
                    <a:pt x="23327" y="19050"/>
                    <a:pt x="28575" y="19050"/>
                  </a:cubicBezTo>
                  <a:close/>
                  <a:moveTo>
                    <a:pt x="400050" y="419100"/>
                  </a:moveTo>
                  <a:cubicBezTo>
                    <a:pt x="400050" y="429606"/>
                    <a:pt x="391506" y="438150"/>
                    <a:pt x="381000" y="438150"/>
                  </a:cubicBezTo>
                  <a:lnTo>
                    <a:pt x="38100" y="438150"/>
                  </a:lnTo>
                  <a:cubicBezTo>
                    <a:pt x="27594" y="438150"/>
                    <a:pt x="19050" y="429606"/>
                    <a:pt x="19050" y="419100"/>
                  </a:cubicBezTo>
                  <a:lnTo>
                    <a:pt x="19050" y="95250"/>
                  </a:lnTo>
                  <a:lnTo>
                    <a:pt x="400050" y="95250"/>
                  </a:lnTo>
                  <a:lnTo>
                    <a:pt x="400050" y="419100"/>
                  </a:lnTo>
                  <a:close/>
                  <a:moveTo>
                    <a:pt x="590550" y="561975"/>
                  </a:moveTo>
                  <a:cubicBezTo>
                    <a:pt x="590550" y="577729"/>
                    <a:pt x="577729" y="590550"/>
                    <a:pt x="561975" y="590550"/>
                  </a:cubicBezTo>
                  <a:lnTo>
                    <a:pt x="485775" y="590550"/>
                  </a:lnTo>
                  <a:cubicBezTo>
                    <a:pt x="470021" y="590550"/>
                    <a:pt x="457200" y="577729"/>
                    <a:pt x="457200" y="561975"/>
                  </a:cubicBezTo>
                  <a:lnTo>
                    <a:pt x="457200" y="409575"/>
                  </a:lnTo>
                  <a:cubicBezTo>
                    <a:pt x="457200" y="393821"/>
                    <a:pt x="470021" y="381000"/>
                    <a:pt x="485775" y="381000"/>
                  </a:cubicBezTo>
                  <a:lnTo>
                    <a:pt x="561975" y="381000"/>
                  </a:lnTo>
                  <a:cubicBezTo>
                    <a:pt x="577729" y="381000"/>
                    <a:pt x="590550" y="393821"/>
                    <a:pt x="590550" y="409575"/>
                  </a:cubicBezTo>
                  <a:lnTo>
                    <a:pt x="590550" y="561975"/>
                  </a:lnTo>
                  <a:close/>
                </a:path>
              </a:pathLst>
            </a:custGeom>
            <a:grpFill/>
            <a:ln w="9525" cap="flat">
              <a:noFill/>
              <a:prstDash val="solid"/>
              <a:miter/>
            </a:ln>
          </p:spPr>
          <p:txBody>
            <a:bodyPr rtlCol="0" anchor="ctr"/>
            <a:lstStyle/>
            <a:p>
              <a:pPr algn="r" rtl="1"/>
              <a:endParaRPr lang="en-US"/>
            </a:p>
          </p:txBody>
        </p:sp>
        <p:sp>
          <p:nvSpPr>
            <p:cNvPr id="24" name="Freeform: Shape 23">
              <a:extLst>
                <a:ext uri="{FF2B5EF4-FFF2-40B4-BE49-F238E27FC236}">
                  <a16:creationId xmlns:a16="http://schemas.microsoft.com/office/drawing/2014/main" id="{2A03C4D1-77AA-45F8-96FC-F4B82F8D696C}"/>
                </a:ext>
              </a:extLst>
            </p:cNvPr>
            <p:cNvSpPr/>
            <p:nvPr/>
          </p:nvSpPr>
          <p:spPr>
            <a:xfrm>
              <a:off x="418272" y="4533249"/>
              <a:ext cx="19050" cy="57150"/>
            </a:xfrm>
            <a:custGeom>
              <a:avLst/>
              <a:gdLst>
                <a:gd name="connsiteX0" fmla="*/ 9525 w 19050"/>
                <a:gd name="connsiteY0" fmla="*/ 0 h 57150"/>
                <a:gd name="connsiteX1" fmla="*/ 0 w 19050"/>
                <a:gd name="connsiteY1" fmla="*/ 9525 h 57150"/>
                <a:gd name="connsiteX2" fmla="*/ 0 w 19050"/>
                <a:gd name="connsiteY2" fmla="*/ 47625 h 57150"/>
                <a:gd name="connsiteX3" fmla="*/ 9525 w 19050"/>
                <a:gd name="connsiteY3" fmla="*/ 57150 h 57150"/>
                <a:gd name="connsiteX4" fmla="*/ 19050 w 19050"/>
                <a:gd name="connsiteY4" fmla="*/ 47625 h 57150"/>
                <a:gd name="connsiteX5" fmla="*/ 19050 w 19050"/>
                <a:gd name="connsiteY5" fmla="*/ 9525 h 57150"/>
                <a:gd name="connsiteX6" fmla="*/ 9525 w 19050"/>
                <a:gd name="connsiteY6" fmla="*/ 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57150">
                  <a:moveTo>
                    <a:pt x="9525" y="0"/>
                  </a:moveTo>
                  <a:cubicBezTo>
                    <a:pt x="4267" y="0"/>
                    <a:pt x="0" y="4258"/>
                    <a:pt x="0" y="9525"/>
                  </a:cubicBezTo>
                  <a:lnTo>
                    <a:pt x="0" y="47625"/>
                  </a:lnTo>
                  <a:cubicBezTo>
                    <a:pt x="0" y="52892"/>
                    <a:pt x="4267" y="57150"/>
                    <a:pt x="9525" y="57150"/>
                  </a:cubicBezTo>
                  <a:cubicBezTo>
                    <a:pt x="14783" y="57150"/>
                    <a:pt x="19050" y="52892"/>
                    <a:pt x="19050" y="47625"/>
                  </a:cubicBezTo>
                  <a:lnTo>
                    <a:pt x="19050" y="9525"/>
                  </a:lnTo>
                  <a:cubicBezTo>
                    <a:pt x="19050" y="4258"/>
                    <a:pt x="14783" y="0"/>
                    <a:pt x="9525" y="0"/>
                  </a:cubicBezTo>
                  <a:close/>
                </a:path>
              </a:pathLst>
            </a:custGeom>
            <a:grpFill/>
            <a:ln w="9525" cap="flat">
              <a:noFill/>
              <a:prstDash val="solid"/>
              <a:miter/>
            </a:ln>
          </p:spPr>
          <p:txBody>
            <a:bodyPr rtlCol="0" anchor="ctr"/>
            <a:lstStyle/>
            <a:p>
              <a:pPr algn="r" rtl="1"/>
              <a:endParaRPr lang="en-US"/>
            </a:p>
          </p:txBody>
        </p:sp>
        <p:sp>
          <p:nvSpPr>
            <p:cNvPr id="25" name="Freeform: Shape 24">
              <a:extLst>
                <a:ext uri="{FF2B5EF4-FFF2-40B4-BE49-F238E27FC236}">
                  <a16:creationId xmlns:a16="http://schemas.microsoft.com/office/drawing/2014/main" id="{13438818-F2C7-4D73-829E-1E2D9C2EC608}"/>
                </a:ext>
              </a:extLst>
            </p:cNvPr>
            <p:cNvSpPr/>
            <p:nvPr/>
          </p:nvSpPr>
          <p:spPr>
            <a:xfrm>
              <a:off x="-38928" y="42760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a:p>
          </p:txBody>
        </p:sp>
        <p:sp>
          <p:nvSpPr>
            <p:cNvPr id="26" name="Freeform: Shape 25">
              <a:extLst>
                <a:ext uri="{FF2B5EF4-FFF2-40B4-BE49-F238E27FC236}">
                  <a16:creationId xmlns:a16="http://schemas.microsoft.com/office/drawing/2014/main" id="{B081E4DA-7A34-4315-A07D-DD96DA4BBB9A}"/>
                </a:ext>
              </a:extLst>
            </p:cNvPr>
            <p:cNvSpPr/>
            <p:nvPr/>
          </p:nvSpPr>
          <p:spPr>
            <a:xfrm>
              <a:off x="-10352" y="43046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11"/>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a:p>
          </p:txBody>
        </p:sp>
        <p:sp>
          <p:nvSpPr>
            <p:cNvPr id="27" name="Freeform: Shape 26">
              <a:extLst>
                <a:ext uri="{FF2B5EF4-FFF2-40B4-BE49-F238E27FC236}">
                  <a16:creationId xmlns:a16="http://schemas.microsoft.com/office/drawing/2014/main" id="{7ECCEF85-53C8-4D99-919E-C1BFA894A2F7}"/>
                </a:ext>
              </a:extLst>
            </p:cNvPr>
            <p:cNvSpPr/>
            <p:nvPr/>
          </p:nvSpPr>
          <p:spPr>
            <a:xfrm>
              <a:off x="-38928" y="4428474"/>
              <a:ext cx="114300" cy="114300"/>
            </a:xfrm>
            <a:custGeom>
              <a:avLst/>
              <a:gdLst>
                <a:gd name="connsiteX0" fmla="*/ 104775 w 114300"/>
                <a:gd name="connsiteY0" fmla="*/ 0 h 114300"/>
                <a:gd name="connsiteX1" fmla="*/ 9525 w 114300"/>
                <a:gd name="connsiteY1" fmla="*/ 0 h 114300"/>
                <a:gd name="connsiteX2" fmla="*/ 0 w 114300"/>
                <a:gd name="connsiteY2" fmla="*/ 9525 h 114300"/>
                <a:gd name="connsiteX3" fmla="*/ 0 w 114300"/>
                <a:gd name="connsiteY3" fmla="*/ 104775 h 114300"/>
                <a:gd name="connsiteX4" fmla="*/ 9525 w 114300"/>
                <a:gd name="connsiteY4" fmla="*/ 114300 h 114300"/>
                <a:gd name="connsiteX5" fmla="*/ 104775 w 114300"/>
                <a:gd name="connsiteY5" fmla="*/ 114300 h 114300"/>
                <a:gd name="connsiteX6" fmla="*/ 114300 w 114300"/>
                <a:gd name="connsiteY6" fmla="*/ 104775 h 114300"/>
                <a:gd name="connsiteX7" fmla="*/ 114300 w 114300"/>
                <a:gd name="connsiteY7" fmla="*/ 9525 h 114300"/>
                <a:gd name="connsiteX8" fmla="*/ 104775 w 114300"/>
                <a:gd name="connsiteY8" fmla="*/ 0 h 114300"/>
                <a:gd name="connsiteX9" fmla="*/ 95250 w 114300"/>
                <a:gd name="connsiteY9" fmla="*/ 95250 h 114300"/>
                <a:gd name="connsiteX10" fmla="*/ 19050 w 114300"/>
                <a:gd name="connsiteY10" fmla="*/ 95250 h 114300"/>
                <a:gd name="connsiteX11" fmla="*/ 19050 w 114300"/>
                <a:gd name="connsiteY11" fmla="*/ 19050 h 114300"/>
                <a:gd name="connsiteX12" fmla="*/ 95250 w 114300"/>
                <a:gd name="connsiteY12" fmla="*/ 19050 h 114300"/>
                <a:gd name="connsiteX13" fmla="*/ 95250 w 114300"/>
                <a:gd name="connsiteY13"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300" h="114300">
                  <a:moveTo>
                    <a:pt x="104775" y="0"/>
                  </a:moveTo>
                  <a:lnTo>
                    <a:pt x="9525" y="0"/>
                  </a:lnTo>
                  <a:cubicBezTo>
                    <a:pt x="4267" y="0"/>
                    <a:pt x="0" y="4258"/>
                    <a:pt x="0" y="9525"/>
                  </a:cubicBezTo>
                  <a:lnTo>
                    <a:pt x="0" y="104775"/>
                  </a:lnTo>
                  <a:cubicBezTo>
                    <a:pt x="0" y="110042"/>
                    <a:pt x="4267" y="114300"/>
                    <a:pt x="9525" y="114300"/>
                  </a:cubicBezTo>
                  <a:lnTo>
                    <a:pt x="104775" y="114300"/>
                  </a:lnTo>
                  <a:cubicBezTo>
                    <a:pt x="110033" y="114300"/>
                    <a:pt x="114300" y="110042"/>
                    <a:pt x="114300" y="104775"/>
                  </a:cubicBezTo>
                  <a:lnTo>
                    <a:pt x="114300" y="9525"/>
                  </a:lnTo>
                  <a:cubicBezTo>
                    <a:pt x="114300" y="4258"/>
                    <a:pt x="110033" y="0"/>
                    <a:pt x="104775" y="0"/>
                  </a:cubicBezTo>
                  <a:close/>
                  <a:moveTo>
                    <a:pt x="95250" y="95250"/>
                  </a:moveTo>
                  <a:lnTo>
                    <a:pt x="19050" y="95250"/>
                  </a:lnTo>
                  <a:lnTo>
                    <a:pt x="19050" y="19050"/>
                  </a:lnTo>
                  <a:lnTo>
                    <a:pt x="95250" y="19050"/>
                  </a:lnTo>
                  <a:lnTo>
                    <a:pt x="95250" y="95250"/>
                  </a:lnTo>
                  <a:close/>
                </a:path>
              </a:pathLst>
            </a:custGeom>
            <a:grpFill/>
            <a:ln w="9525" cap="flat">
              <a:noFill/>
              <a:prstDash val="solid"/>
              <a:miter/>
            </a:ln>
          </p:spPr>
          <p:txBody>
            <a:bodyPr rtlCol="0" anchor="ctr"/>
            <a:lstStyle/>
            <a:p>
              <a:pPr algn="r" rtl="1"/>
              <a:endParaRPr lang="en-US"/>
            </a:p>
          </p:txBody>
        </p:sp>
        <p:sp>
          <p:nvSpPr>
            <p:cNvPr id="28" name="Freeform: Shape 27">
              <a:extLst>
                <a:ext uri="{FF2B5EF4-FFF2-40B4-BE49-F238E27FC236}">
                  <a16:creationId xmlns:a16="http://schemas.microsoft.com/office/drawing/2014/main" id="{9A4746B0-5F4E-486E-AE2C-809140447035}"/>
                </a:ext>
              </a:extLst>
            </p:cNvPr>
            <p:cNvSpPr/>
            <p:nvPr/>
          </p:nvSpPr>
          <p:spPr>
            <a:xfrm>
              <a:off x="-10352" y="4457040"/>
              <a:ext cx="57151" cy="57158"/>
            </a:xfrm>
            <a:custGeom>
              <a:avLst/>
              <a:gdLst>
                <a:gd name="connsiteX0" fmla="*/ 16192 w 57151"/>
                <a:gd name="connsiteY0" fmla="*/ 53349 h 57158"/>
                <a:gd name="connsiteX1" fmla="*/ 23812 w 57151"/>
                <a:gd name="connsiteY1" fmla="*/ 57159 h 57158"/>
                <a:gd name="connsiteX2" fmla="*/ 24212 w 57151"/>
                <a:gd name="connsiteY2" fmla="*/ 57149 h 57158"/>
                <a:gd name="connsiteX3" fmla="*/ 31889 w 57151"/>
                <a:gd name="connsiteY3" fmla="*/ 52682 h 57158"/>
                <a:gd name="connsiteX4" fmla="*/ 55702 w 57151"/>
                <a:gd name="connsiteY4" fmla="*/ 14582 h 57158"/>
                <a:gd name="connsiteX5" fmla="*/ 52673 w 57151"/>
                <a:gd name="connsiteY5" fmla="*/ 1456 h 57158"/>
                <a:gd name="connsiteX6" fmla="*/ 39547 w 57151"/>
                <a:gd name="connsiteY6" fmla="*/ 4476 h 57158"/>
                <a:gd name="connsiteX7" fmla="*/ 23098 w 57151"/>
                <a:gd name="connsiteY7" fmla="*/ 30803 h 57158"/>
                <a:gd name="connsiteX8" fmla="*/ 17145 w 57151"/>
                <a:gd name="connsiteY8" fmla="*/ 22869 h 57158"/>
                <a:gd name="connsiteX9" fmla="*/ 3810 w 57151"/>
                <a:gd name="connsiteY9" fmla="*/ 20964 h 57158"/>
                <a:gd name="connsiteX10" fmla="*/ 1905 w 57151"/>
                <a:gd name="connsiteY10" fmla="*/ 34289 h 57158"/>
                <a:gd name="connsiteX11" fmla="*/ 16192 w 57151"/>
                <a:gd name="connsiteY11" fmla="*/ 53349 h 5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51" h="57158">
                  <a:moveTo>
                    <a:pt x="16192" y="53349"/>
                  </a:moveTo>
                  <a:cubicBezTo>
                    <a:pt x="17992" y="55759"/>
                    <a:pt x="20821" y="57159"/>
                    <a:pt x="23812" y="57159"/>
                  </a:cubicBezTo>
                  <a:cubicBezTo>
                    <a:pt x="23945" y="57159"/>
                    <a:pt x="24079" y="57159"/>
                    <a:pt x="24212" y="57149"/>
                  </a:cubicBezTo>
                  <a:cubicBezTo>
                    <a:pt x="27355" y="57016"/>
                    <a:pt x="30222" y="55349"/>
                    <a:pt x="31889" y="52682"/>
                  </a:cubicBezTo>
                  <a:lnTo>
                    <a:pt x="55702" y="14582"/>
                  </a:lnTo>
                  <a:cubicBezTo>
                    <a:pt x="58493" y="10115"/>
                    <a:pt x="57130" y="4238"/>
                    <a:pt x="52673" y="1456"/>
                  </a:cubicBezTo>
                  <a:cubicBezTo>
                    <a:pt x="48215" y="-1344"/>
                    <a:pt x="42338" y="18"/>
                    <a:pt x="39547" y="4476"/>
                  </a:cubicBezTo>
                  <a:lnTo>
                    <a:pt x="23098" y="30803"/>
                  </a:lnTo>
                  <a:lnTo>
                    <a:pt x="17145" y="22869"/>
                  </a:lnTo>
                  <a:cubicBezTo>
                    <a:pt x="13992" y="18659"/>
                    <a:pt x="8039" y="17820"/>
                    <a:pt x="3810" y="20964"/>
                  </a:cubicBezTo>
                  <a:cubicBezTo>
                    <a:pt x="-401" y="24116"/>
                    <a:pt x="-1248" y="30089"/>
                    <a:pt x="1905" y="34289"/>
                  </a:cubicBezTo>
                  <a:lnTo>
                    <a:pt x="16192" y="53349"/>
                  </a:lnTo>
                  <a:close/>
                </a:path>
              </a:pathLst>
            </a:custGeom>
            <a:grpFill/>
            <a:ln w="9525" cap="flat">
              <a:noFill/>
              <a:prstDash val="solid"/>
              <a:miter/>
            </a:ln>
          </p:spPr>
          <p:txBody>
            <a:bodyPr rtlCol="0" anchor="ctr"/>
            <a:lstStyle/>
            <a:p>
              <a:pPr algn="r" rtl="1"/>
              <a:endParaRPr lang="en-US"/>
            </a:p>
          </p:txBody>
        </p:sp>
        <p:sp>
          <p:nvSpPr>
            <p:cNvPr id="29" name="Freeform: Shape 28">
              <a:extLst>
                <a:ext uri="{FF2B5EF4-FFF2-40B4-BE49-F238E27FC236}">
                  <a16:creationId xmlns:a16="http://schemas.microsoft.com/office/drawing/2014/main" id="{A597F2C3-AB29-4DA5-96D5-D84D167E8118}"/>
                </a:ext>
              </a:extLst>
            </p:cNvPr>
            <p:cNvSpPr/>
            <p:nvPr/>
          </p:nvSpPr>
          <p:spPr>
            <a:xfrm>
              <a:off x="151572" y="42760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a:p>
          </p:txBody>
        </p:sp>
        <p:sp>
          <p:nvSpPr>
            <p:cNvPr id="30" name="Freeform: Shape 29">
              <a:extLst>
                <a:ext uri="{FF2B5EF4-FFF2-40B4-BE49-F238E27FC236}">
                  <a16:creationId xmlns:a16="http://schemas.microsoft.com/office/drawing/2014/main" id="{25930814-B297-40A8-9754-34E91C70A796}"/>
                </a:ext>
              </a:extLst>
            </p:cNvPr>
            <p:cNvSpPr/>
            <p:nvPr/>
          </p:nvSpPr>
          <p:spPr>
            <a:xfrm>
              <a:off x="113472" y="43236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31" name="Freeform: Shape 30">
              <a:extLst>
                <a:ext uri="{FF2B5EF4-FFF2-40B4-BE49-F238E27FC236}">
                  <a16:creationId xmlns:a16="http://schemas.microsoft.com/office/drawing/2014/main" id="{849C3F82-E6B4-46CA-9F8A-31C1D096377C}"/>
                </a:ext>
              </a:extLst>
            </p:cNvPr>
            <p:cNvSpPr/>
            <p:nvPr/>
          </p:nvSpPr>
          <p:spPr>
            <a:xfrm>
              <a:off x="113472" y="43713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32" name="Freeform: Shape 31">
              <a:extLst>
                <a:ext uri="{FF2B5EF4-FFF2-40B4-BE49-F238E27FC236}">
                  <a16:creationId xmlns:a16="http://schemas.microsoft.com/office/drawing/2014/main" id="{53389302-F218-4745-83B2-653FF87E94B3}"/>
                </a:ext>
              </a:extLst>
            </p:cNvPr>
            <p:cNvSpPr/>
            <p:nvPr/>
          </p:nvSpPr>
          <p:spPr>
            <a:xfrm>
              <a:off x="151572" y="4428474"/>
              <a:ext cx="114300" cy="19050"/>
            </a:xfrm>
            <a:custGeom>
              <a:avLst/>
              <a:gdLst>
                <a:gd name="connsiteX0" fmla="*/ 104775 w 114300"/>
                <a:gd name="connsiteY0" fmla="*/ 0 h 19050"/>
                <a:gd name="connsiteX1" fmla="*/ 9525 w 114300"/>
                <a:gd name="connsiteY1" fmla="*/ 0 h 19050"/>
                <a:gd name="connsiteX2" fmla="*/ 0 w 114300"/>
                <a:gd name="connsiteY2" fmla="*/ 9525 h 19050"/>
                <a:gd name="connsiteX3" fmla="*/ 9525 w 114300"/>
                <a:gd name="connsiteY3" fmla="*/ 19050 h 19050"/>
                <a:gd name="connsiteX4" fmla="*/ 104775 w 114300"/>
                <a:gd name="connsiteY4" fmla="*/ 19050 h 19050"/>
                <a:gd name="connsiteX5" fmla="*/ 114300 w 114300"/>
                <a:gd name="connsiteY5" fmla="*/ 9525 h 19050"/>
                <a:gd name="connsiteX6" fmla="*/ 104775 w 1143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775" y="0"/>
                  </a:moveTo>
                  <a:lnTo>
                    <a:pt x="9525" y="0"/>
                  </a:lnTo>
                  <a:cubicBezTo>
                    <a:pt x="4267" y="0"/>
                    <a:pt x="0" y="4258"/>
                    <a:pt x="0" y="9525"/>
                  </a:cubicBezTo>
                  <a:cubicBezTo>
                    <a:pt x="0" y="14792"/>
                    <a:pt x="4267" y="19050"/>
                    <a:pt x="9525" y="19050"/>
                  </a:cubicBezTo>
                  <a:lnTo>
                    <a:pt x="104775" y="19050"/>
                  </a:lnTo>
                  <a:cubicBezTo>
                    <a:pt x="110033" y="19050"/>
                    <a:pt x="114300" y="14792"/>
                    <a:pt x="114300" y="9525"/>
                  </a:cubicBezTo>
                  <a:cubicBezTo>
                    <a:pt x="114300" y="4258"/>
                    <a:pt x="110033" y="0"/>
                    <a:pt x="104775" y="0"/>
                  </a:cubicBezTo>
                  <a:close/>
                </a:path>
              </a:pathLst>
            </a:custGeom>
            <a:grpFill/>
            <a:ln w="9525" cap="flat">
              <a:noFill/>
              <a:prstDash val="solid"/>
              <a:miter/>
            </a:ln>
          </p:spPr>
          <p:txBody>
            <a:bodyPr rtlCol="0" anchor="ctr"/>
            <a:lstStyle/>
            <a:p>
              <a:pPr algn="r" rtl="1"/>
              <a:endParaRPr lang="en-US"/>
            </a:p>
          </p:txBody>
        </p:sp>
        <p:sp>
          <p:nvSpPr>
            <p:cNvPr id="33" name="Freeform: Shape 32">
              <a:extLst>
                <a:ext uri="{FF2B5EF4-FFF2-40B4-BE49-F238E27FC236}">
                  <a16:creationId xmlns:a16="http://schemas.microsoft.com/office/drawing/2014/main" id="{1352B415-4D8F-4959-97D3-183B2BAE46D9}"/>
                </a:ext>
              </a:extLst>
            </p:cNvPr>
            <p:cNvSpPr/>
            <p:nvPr/>
          </p:nvSpPr>
          <p:spPr>
            <a:xfrm>
              <a:off x="113472" y="4476099"/>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sp>
          <p:nvSpPr>
            <p:cNvPr id="34" name="Freeform: Shape 33">
              <a:extLst>
                <a:ext uri="{FF2B5EF4-FFF2-40B4-BE49-F238E27FC236}">
                  <a16:creationId xmlns:a16="http://schemas.microsoft.com/office/drawing/2014/main" id="{DCC58166-66A2-4DE5-BE29-EE56A3A2DEE2}"/>
                </a:ext>
              </a:extLst>
            </p:cNvPr>
            <p:cNvSpPr/>
            <p:nvPr/>
          </p:nvSpPr>
          <p:spPr>
            <a:xfrm>
              <a:off x="113472" y="4523724"/>
              <a:ext cx="152400" cy="19050"/>
            </a:xfrm>
            <a:custGeom>
              <a:avLst/>
              <a:gdLst>
                <a:gd name="connsiteX0" fmla="*/ 142875 w 152400"/>
                <a:gd name="connsiteY0" fmla="*/ 0 h 19050"/>
                <a:gd name="connsiteX1" fmla="*/ 9525 w 152400"/>
                <a:gd name="connsiteY1" fmla="*/ 0 h 19050"/>
                <a:gd name="connsiteX2" fmla="*/ 0 w 152400"/>
                <a:gd name="connsiteY2" fmla="*/ 9525 h 19050"/>
                <a:gd name="connsiteX3" fmla="*/ 9525 w 152400"/>
                <a:gd name="connsiteY3" fmla="*/ 19050 h 19050"/>
                <a:gd name="connsiteX4" fmla="*/ 142875 w 152400"/>
                <a:gd name="connsiteY4" fmla="*/ 19050 h 19050"/>
                <a:gd name="connsiteX5" fmla="*/ 152400 w 152400"/>
                <a:gd name="connsiteY5" fmla="*/ 9525 h 19050"/>
                <a:gd name="connsiteX6" fmla="*/ 142875 w 152400"/>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142875" y="0"/>
                  </a:moveTo>
                  <a:lnTo>
                    <a:pt x="9525" y="0"/>
                  </a:lnTo>
                  <a:cubicBezTo>
                    <a:pt x="4267" y="0"/>
                    <a:pt x="0" y="4258"/>
                    <a:pt x="0" y="9525"/>
                  </a:cubicBezTo>
                  <a:cubicBezTo>
                    <a:pt x="0" y="14792"/>
                    <a:pt x="4267" y="19050"/>
                    <a:pt x="9525" y="19050"/>
                  </a:cubicBezTo>
                  <a:lnTo>
                    <a:pt x="142875" y="19050"/>
                  </a:lnTo>
                  <a:cubicBezTo>
                    <a:pt x="148133" y="19050"/>
                    <a:pt x="152400" y="14792"/>
                    <a:pt x="152400" y="9525"/>
                  </a:cubicBezTo>
                  <a:cubicBezTo>
                    <a:pt x="152400" y="4258"/>
                    <a:pt x="148133" y="0"/>
                    <a:pt x="142875" y="0"/>
                  </a:cubicBezTo>
                  <a:close/>
                </a:path>
              </a:pathLst>
            </a:custGeom>
            <a:grpFill/>
            <a:ln w="9525" cap="flat">
              <a:noFill/>
              <a:prstDash val="solid"/>
              <a:miter/>
            </a:ln>
          </p:spPr>
          <p:txBody>
            <a:bodyPr rtlCol="0" anchor="ctr"/>
            <a:lstStyle/>
            <a:p>
              <a:pPr algn="r" rtl="1"/>
              <a:endParaRPr lang="en-US"/>
            </a:p>
          </p:txBody>
        </p:sp>
      </p:grpSp>
      <p:pic>
        <p:nvPicPr>
          <p:cNvPr id="11" name="Picture 10">
            <a:extLst>
              <a:ext uri="{FF2B5EF4-FFF2-40B4-BE49-F238E27FC236}">
                <a16:creationId xmlns:a16="http://schemas.microsoft.com/office/drawing/2014/main" id="{F567D698-F581-4090-9875-514DC32D873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555945" y="2217386"/>
            <a:ext cx="2197155" cy="2568104"/>
          </a:xfrm>
          <a:prstGeom prst="rect">
            <a:avLst/>
          </a:prstGeom>
          <a:effectLst>
            <a:outerShdw blurRad="127000" sx="96000" sy="96000" algn="ctr" rotWithShape="0">
              <a:prstClr val="black">
                <a:alpha val="40000"/>
              </a:prstClr>
            </a:outerShdw>
          </a:effectLst>
        </p:spPr>
      </p:pic>
      <p:pic>
        <p:nvPicPr>
          <p:cNvPr id="35" name="Picture 34">
            <a:extLst>
              <a:ext uri="{FF2B5EF4-FFF2-40B4-BE49-F238E27FC236}">
                <a16:creationId xmlns:a16="http://schemas.microsoft.com/office/drawing/2014/main" id="{915F1E90-308D-465F-95A5-0B64395F86E2}"/>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33400" y="2692538"/>
            <a:ext cx="3573670" cy="2767227"/>
          </a:xfrm>
          <a:prstGeom prst="rect">
            <a:avLst/>
          </a:prstGeom>
          <a:effectLst>
            <a:outerShdw blurRad="127000" sx="96000" sy="96000" algn="ctr" rotWithShape="0">
              <a:prstClr val="black">
                <a:alpha val="40000"/>
              </a:prstClr>
            </a:outerShdw>
          </a:effectLst>
        </p:spPr>
      </p:pic>
      <p:pic>
        <p:nvPicPr>
          <p:cNvPr id="40" name="Picture 2" descr="AURIN. Australian Urban Research Infrastructure Network">
            <a:extLst>
              <a:ext uri="{FF2B5EF4-FFF2-40B4-BE49-F238E27FC236}">
                <a16:creationId xmlns:a16="http://schemas.microsoft.com/office/drawing/2014/main" id="{99E7C195-965C-460D-AB24-9B302EFBF2FE}"/>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4BA43372-9545-44F2-ADC3-4E0960AD895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
        <p:nvSpPr>
          <p:cNvPr id="45" name="Rectangle: Rounded Corners 44">
            <a:extLst>
              <a:ext uri="{FF2B5EF4-FFF2-40B4-BE49-F238E27FC236}">
                <a16:creationId xmlns:a16="http://schemas.microsoft.com/office/drawing/2014/main" id="{B99583E3-D3A1-4AF9-9A83-F7B1144C7554}"/>
              </a:ext>
            </a:extLst>
          </p:cNvPr>
          <p:cNvSpPr/>
          <p:nvPr/>
        </p:nvSpPr>
        <p:spPr>
          <a:xfrm>
            <a:off x="62752" y="69564"/>
            <a:ext cx="1678584" cy="228609"/>
          </a:xfrm>
          <a:prstGeom prst="roundRect">
            <a:avLst>
              <a:gd name="adj" fmla="val 14234"/>
            </a:avLst>
          </a:prstGeom>
          <a:solidFill>
            <a:srgbClr val="4AC7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4- تجربة المستخدم</a:t>
            </a:r>
          </a:p>
        </p:txBody>
      </p:sp>
    </p:spTree>
    <p:extLst>
      <p:ext uri="{BB962C8B-B14F-4D97-AF65-F5344CB8AC3E}">
        <p14:creationId xmlns:p14="http://schemas.microsoft.com/office/powerpoint/2010/main" val="10443287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5"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44" name="Slide Number Placeholder 4">
            <a:extLst>
              <a:ext uri="{FF2B5EF4-FFF2-40B4-BE49-F238E27FC236}">
                <a16:creationId xmlns:a16="http://schemas.microsoft.com/office/drawing/2014/main" id="{F52FB746-C9B8-4BFF-9D1C-ECAA15BFD6D8}"/>
              </a:ext>
            </a:extLst>
          </p:cNvPr>
          <p:cNvSpPr>
            <a:spLocks noGrp="1"/>
          </p:cNvSpPr>
          <p:nvPr>
            <p:ph type="sldNum" sz="quarter" idx="12"/>
          </p:nvPr>
        </p:nvSpPr>
        <p:spPr/>
        <p:txBody>
          <a:bodyPr/>
          <a:lstStyle/>
          <a:p>
            <a:pPr lvl="0"/>
            <a:fld id="{9FDB499F-DC86-4996-A3C7-FCE8E06389C2}" type="slidenum">
              <a:rPr lang="ar-SA" noProof="0" smtClean="0"/>
              <a:pPr lvl="0"/>
              <a:t>21</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الشراكات</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53" name="Rectangle 52">
            <a:extLst>
              <a:ext uri="{FF2B5EF4-FFF2-40B4-BE49-F238E27FC236}">
                <a16:creationId xmlns:a16="http://schemas.microsoft.com/office/drawing/2014/main" id="{2BA0B197-2660-4609-8F5E-20D02CA3E984}"/>
              </a:ext>
            </a:extLst>
          </p:cNvPr>
          <p:cNvSpPr/>
          <p:nvPr/>
        </p:nvSpPr>
        <p:spPr>
          <a:xfrm flipH="1">
            <a:off x="621917" y="1425686"/>
            <a:ext cx="10988041" cy="52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الشبكة الأسترالية للبنية التحتية للأبحاث الحضرية» هي شبكة وطنية تعاونية مكونة من أبرز الجهات البحثية والجهات المقدمة للبيانات في مختلف القطاعات الأكاديمية والحكومية والخاصة</a:t>
            </a:r>
          </a:p>
        </p:txBody>
      </p:sp>
      <p:sp>
        <p:nvSpPr>
          <p:cNvPr id="26" name="TextBox 25">
            <a:extLst>
              <a:ext uri="{FF2B5EF4-FFF2-40B4-BE49-F238E27FC236}">
                <a16:creationId xmlns:a16="http://schemas.microsoft.com/office/drawing/2014/main" id="{0612241C-421E-41D8-BDD6-6DBE8A97EF13}"/>
              </a:ext>
            </a:extLst>
          </p:cNvPr>
          <p:cNvSpPr txBox="1"/>
          <p:nvPr/>
        </p:nvSpPr>
        <p:spPr>
          <a:xfrm>
            <a:off x="9674724" y="2760994"/>
            <a:ext cx="1211003"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قطاع العام</a:t>
            </a:r>
          </a:p>
        </p:txBody>
      </p:sp>
      <p:cxnSp>
        <p:nvCxnSpPr>
          <p:cNvPr id="27" name="Straight Connector 26">
            <a:extLst>
              <a:ext uri="{FF2B5EF4-FFF2-40B4-BE49-F238E27FC236}">
                <a16:creationId xmlns:a16="http://schemas.microsoft.com/office/drawing/2014/main" id="{4CDCCD55-F03A-4005-AC0C-D3C3C3B74BED}"/>
              </a:ext>
            </a:extLst>
          </p:cNvPr>
          <p:cNvCxnSpPr>
            <a:cxnSpLocks/>
          </p:cNvCxnSpPr>
          <p:nvPr/>
        </p:nvCxnSpPr>
        <p:spPr>
          <a:xfrm>
            <a:off x="9012292"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60EA0FE-28F1-4C15-A9F9-9D16D09166F7}"/>
              </a:ext>
            </a:extLst>
          </p:cNvPr>
          <p:cNvSpPr txBox="1"/>
          <p:nvPr/>
        </p:nvSpPr>
        <p:spPr>
          <a:xfrm>
            <a:off x="6816616" y="2760994"/>
            <a:ext cx="1282128"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قطاع الخاص</a:t>
            </a:r>
          </a:p>
        </p:txBody>
      </p:sp>
      <p:cxnSp>
        <p:nvCxnSpPr>
          <p:cNvPr id="31" name="Straight Connector 30">
            <a:extLst>
              <a:ext uri="{FF2B5EF4-FFF2-40B4-BE49-F238E27FC236}">
                <a16:creationId xmlns:a16="http://schemas.microsoft.com/office/drawing/2014/main" id="{FA760F2D-7A7F-466B-9375-9BF38D51F2BF}"/>
              </a:ext>
            </a:extLst>
          </p:cNvPr>
          <p:cNvCxnSpPr>
            <a:cxnSpLocks/>
          </p:cNvCxnSpPr>
          <p:nvPr/>
        </p:nvCxnSpPr>
        <p:spPr>
          <a:xfrm>
            <a:off x="6189746"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E186E9A-6B3D-4384-8FB0-0E8397793778}"/>
              </a:ext>
            </a:extLst>
          </p:cNvPr>
          <p:cNvSpPr txBox="1"/>
          <p:nvPr/>
        </p:nvSpPr>
        <p:spPr>
          <a:xfrm>
            <a:off x="3810001" y="2760994"/>
            <a:ext cx="1694774"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أوساط الأكاديمية</a:t>
            </a:r>
          </a:p>
        </p:txBody>
      </p:sp>
      <p:cxnSp>
        <p:nvCxnSpPr>
          <p:cNvPr id="37" name="Straight Connector 36">
            <a:extLst>
              <a:ext uri="{FF2B5EF4-FFF2-40B4-BE49-F238E27FC236}">
                <a16:creationId xmlns:a16="http://schemas.microsoft.com/office/drawing/2014/main" id="{BA5C080F-7F88-4BD7-9FA1-E4DDDDB67C93}"/>
              </a:ext>
            </a:extLst>
          </p:cNvPr>
          <p:cNvCxnSpPr>
            <a:cxnSpLocks/>
          </p:cNvCxnSpPr>
          <p:nvPr/>
        </p:nvCxnSpPr>
        <p:spPr>
          <a:xfrm>
            <a:off x="3389454"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5813E1C-865D-4768-9686-F5E568FC68A5}"/>
              </a:ext>
            </a:extLst>
          </p:cNvPr>
          <p:cNvSpPr txBox="1"/>
          <p:nvPr/>
        </p:nvSpPr>
        <p:spPr>
          <a:xfrm>
            <a:off x="1229341" y="2760994"/>
            <a:ext cx="1211003" cy="248338"/>
          </a:xfrm>
          <a:prstGeom prst="rect">
            <a:avLst/>
          </a:prstGeom>
          <a:noFill/>
        </p:spPr>
        <p:txBody>
          <a:bodyPr wrap="square" lIns="0" tIns="0" rIns="0" bIns="0" rtlCol="0" anchor="b">
            <a:spAutoFit/>
          </a:bodyPr>
          <a:lstStyle/>
          <a:p>
            <a:pPr algn="ctr" rtl="1">
              <a:lnSpc>
                <a:spcPct val="110000"/>
              </a:lnSpc>
            </a:pPr>
            <a:r>
              <a:rPr lang="ar-SA" sz="1600">
                <a:solidFill>
                  <a:schemeClr val="accent4"/>
                </a:solidFill>
                <a:latin typeface="+mj-lt"/>
                <a:cs typeface="DIN Next LT Arabic" panose="020B0503020203050203" pitchFamily="34" charset="-78"/>
              </a:rPr>
              <a:t>المجتمعات</a:t>
            </a:r>
          </a:p>
        </p:txBody>
      </p:sp>
      <p:cxnSp>
        <p:nvCxnSpPr>
          <p:cNvPr id="40" name="Straight Connector 39">
            <a:extLst>
              <a:ext uri="{FF2B5EF4-FFF2-40B4-BE49-F238E27FC236}">
                <a16:creationId xmlns:a16="http://schemas.microsoft.com/office/drawing/2014/main" id="{BD6AE8FB-448D-4A90-AE37-69BA39144F62}"/>
              </a:ext>
            </a:extLst>
          </p:cNvPr>
          <p:cNvCxnSpPr>
            <a:cxnSpLocks/>
          </p:cNvCxnSpPr>
          <p:nvPr/>
        </p:nvCxnSpPr>
        <p:spPr>
          <a:xfrm>
            <a:off x="589163" y="3073757"/>
            <a:ext cx="253586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9BE4F6E-B3C4-46DB-ADB0-7532A25C8082}"/>
              </a:ext>
            </a:extLst>
          </p:cNvPr>
          <p:cNvSpPr txBox="1"/>
          <p:nvPr/>
        </p:nvSpPr>
        <p:spPr>
          <a:xfrm flipH="1">
            <a:off x="8970583" y="3131106"/>
            <a:ext cx="2580375" cy="2862322"/>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وفر الشبكة الفرصة لجميع المستويات الحكومية للوصول بسرعة إلى البيانات والتحليلات اللازمة لاتخاذ القرار وإعداد السياسات وفقاً للأدل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وفر الشبكة وسائل مثالية للإدارة أو الجهة العامة تمكنها من إصدار البيانات للمجتمع البحثي على نطاق واسع</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حصلت الشبكة على تمويل من الحكومة الأسترالية تحت مظلة الاستراتيجية الوطنية للبنية التحتية للأبحاث التعاون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schemeClr val="tx1"/>
              </a:solidFill>
              <a:latin typeface="DIN Next LT Arabic (Body)"/>
              <a:sym typeface="Effra" panose="02000506080000020004" pitchFamily="2" charset="0"/>
            </a:endParaRPr>
          </a:p>
        </p:txBody>
      </p:sp>
      <p:sp>
        <p:nvSpPr>
          <p:cNvPr id="54" name="TextBox 53">
            <a:extLst>
              <a:ext uri="{FF2B5EF4-FFF2-40B4-BE49-F238E27FC236}">
                <a16:creationId xmlns:a16="http://schemas.microsoft.com/office/drawing/2014/main" id="{B90EE959-8756-459D-869A-D34F0E1F873C}"/>
              </a:ext>
            </a:extLst>
          </p:cNvPr>
          <p:cNvSpPr txBox="1"/>
          <p:nvPr/>
        </p:nvSpPr>
        <p:spPr>
          <a:xfrm flipH="1">
            <a:off x="6145238" y="3131106"/>
            <a:ext cx="2580375" cy="2862322"/>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تعاون الشبكة مع مؤسسات القطاع الخاص والرابطات الصناعية للتوسط في اتفاقيات التعاون للوصول إلى البيانات</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latin typeface="DIN Next LT Arabic (Body)"/>
                <a:sym typeface="Effra" panose="02000506080000020004" pitchFamily="2" charset="0"/>
              </a:rPr>
              <a:t>أبرمت الشبكة شراكات قائمة على المشاريع مع الهيئات الصناعية، مثل الشراكة مع رابطة إمدادات الطاقة الأسترالية في مجمع بيانات إمدادات واستهلاك المياه والطاق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ومن الأمثلة على شراكات التعاون البحثي مع القطاع الخاص اتفاقية التحالف التي أبرمتها الشبكة مع شركة </a:t>
            </a:r>
            <a:br>
              <a:rPr lang="ar-SA" sz="1200">
                <a:solidFill>
                  <a:schemeClr val="tx1"/>
                </a:solidFill>
                <a:latin typeface="DIN Next LT Arabic (Body)"/>
                <a:sym typeface="Effra" panose="02000506080000020004" pitchFamily="2" charset="0"/>
              </a:rPr>
            </a:br>
            <a:r>
              <a:rPr lang="ar-SA" sz="1200">
                <a:solidFill>
                  <a:schemeClr val="tx1"/>
                </a:solidFill>
                <a:latin typeface="DIN Next LT Arabic (Body)"/>
                <a:sym typeface="Effra" panose="02000506080000020004" pitchFamily="2" charset="0"/>
              </a:rPr>
              <a:t>برايس ووترهاوس كوبرز (</a:t>
            </a:r>
            <a:r>
              <a:rPr lang="en-US" sz="1200">
                <a:solidFill>
                  <a:schemeClr val="tx1"/>
                </a:solidFill>
                <a:latin typeface="DIN Next LT Arabic (Body)"/>
                <a:sym typeface="Effra" panose="02000506080000020004" pitchFamily="2" charset="0"/>
              </a:rPr>
              <a:t>PwC</a:t>
            </a:r>
            <a:r>
              <a:rPr lang="ar-SA" sz="1200">
                <a:solidFill>
                  <a:schemeClr val="tx1"/>
                </a:solidFill>
                <a:latin typeface="DIN Next LT Arabic (Body)"/>
                <a:sym typeface="Effra" panose="02000506080000020004" pitchFamily="2" charset="0"/>
              </a:rPr>
              <a:t>)</a:t>
            </a:r>
          </a:p>
        </p:txBody>
      </p:sp>
      <p:sp>
        <p:nvSpPr>
          <p:cNvPr id="55" name="TextBox 54">
            <a:extLst>
              <a:ext uri="{FF2B5EF4-FFF2-40B4-BE49-F238E27FC236}">
                <a16:creationId xmlns:a16="http://schemas.microsoft.com/office/drawing/2014/main" id="{0DB4CEEB-0088-4783-83D2-4620D1B7F1A7}"/>
              </a:ext>
            </a:extLst>
          </p:cNvPr>
          <p:cNvSpPr txBox="1"/>
          <p:nvPr/>
        </p:nvSpPr>
        <p:spPr>
          <a:xfrm flipH="1">
            <a:off x="3344946" y="3131106"/>
            <a:ext cx="2580375" cy="2677656"/>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ستضيف جامعة ملبورن «الشبكة الأسترالية للبنية التحتية للأبحاث الحضرية» ولدى الشبكة مجموعة كبيرة من المجتمع الأكاديمي في جميع أنحاء أستراليا</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توفر الشبكة للاستخدام بدون مقابل في جميع أنحاء أستراليا لأي عضو منتسب إلى الجامعة ويعمل في المجتمعات الأكاديمية والبحث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أطلقت الشبكة برنامجاً لزيادة القيمة التي تقدمها للأكاديميين ومسؤولي اتخاذ القرار في جنوب أستراليا من خلال إعادة تنشيط مُجمع البيانات (</a:t>
            </a:r>
            <a:r>
              <a:rPr lang="en-US" sz="1200">
                <a:solidFill>
                  <a:schemeClr val="tx1"/>
                </a:solidFill>
                <a:latin typeface="DIN Next LT Arabic (Body)"/>
                <a:sym typeface="Effra" panose="02000506080000020004" pitchFamily="2" charset="0"/>
              </a:rPr>
              <a:t>data hub</a:t>
            </a:r>
            <a:r>
              <a:rPr lang="ar-SA" sz="1200">
                <a:solidFill>
                  <a:schemeClr val="tx1"/>
                </a:solidFill>
                <a:latin typeface="DIN Next LT Arabic (Body)"/>
                <a:sym typeface="Effra" panose="02000506080000020004" pitchFamily="2" charset="0"/>
              </a:rPr>
              <a:t>) في جنوب أستراليا</a:t>
            </a:r>
          </a:p>
        </p:txBody>
      </p:sp>
      <p:sp>
        <p:nvSpPr>
          <p:cNvPr id="56" name="TextBox 55">
            <a:extLst>
              <a:ext uri="{FF2B5EF4-FFF2-40B4-BE49-F238E27FC236}">
                <a16:creationId xmlns:a16="http://schemas.microsoft.com/office/drawing/2014/main" id="{D579C343-946E-4451-8447-4A3C56652F0B}"/>
              </a:ext>
            </a:extLst>
          </p:cNvPr>
          <p:cNvSpPr txBox="1"/>
          <p:nvPr/>
        </p:nvSpPr>
        <p:spPr>
          <a:xfrm flipH="1">
            <a:off x="544655" y="3131106"/>
            <a:ext cx="2580375" cy="1754326"/>
          </a:xfrm>
          <a:prstGeom prst="rect">
            <a:avLst/>
          </a:prstGeom>
          <a:noFill/>
        </p:spPr>
        <p:txBody>
          <a:bodyPr wrap="square">
            <a:spAutoFit/>
          </a:bodyPr>
          <a:lstStyle/>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ضم الشبكة مجموعة رائدة عالمياً من الخبراء والتي تعمل على جميع جوانب المجتمعات الأسترالية</a:t>
            </a:r>
          </a:p>
          <a:p>
            <a:pPr marL="137160" marR="0" lvl="0" indent="-13716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شارك الشبكة مع المجموعات والمؤسسات البحثية في جميع أنحاء البلد لتوفير ما يلزم من بيئات البيانات والبيئات التحليلية للإجابة عن الأسئلة الكبرى حول المجتمعات الأسترالية</a:t>
            </a:r>
          </a:p>
        </p:txBody>
      </p:sp>
      <p:grpSp>
        <p:nvGrpSpPr>
          <p:cNvPr id="17" name="Group 16">
            <a:extLst>
              <a:ext uri="{FF2B5EF4-FFF2-40B4-BE49-F238E27FC236}">
                <a16:creationId xmlns:a16="http://schemas.microsoft.com/office/drawing/2014/main" id="{AD8D755C-51F9-44B4-A6C9-F699CDF8D839}"/>
              </a:ext>
            </a:extLst>
          </p:cNvPr>
          <p:cNvGrpSpPr/>
          <p:nvPr/>
        </p:nvGrpSpPr>
        <p:grpSpPr>
          <a:xfrm>
            <a:off x="7234110" y="2259402"/>
            <a:ext cx="447140" cy="447846"/>
            <a:chOff x="4491940" y="2264520"/>
            <a:chExt cx="447140" cy="447846"/>
          </a:xfrm>
        </p:grpSpPr>
        <p:sp>
          <p:nvSpPr>
            <p:cNvPr id="38" name="Freeform: Shape 37">
              <a:extLst>
                <a:ext uri="{FF2B5EF4-FFF2-40B4-BE49-F238E27FC236}">
                  <a16:creationId xmlns:a16="http://schemas.microsoft.com/office/drawing/2014/main" id="{B696163C-4898-4AE4-B241-802A397E1581}"/>
                </a:ext>
              </a:extLst>
            </p:cNvPr>
            <p:cNvSpPr/>
            <p:nvPr/>
          </p:nvSpPr>
          <p:spPr>
            <a:xfrm>
              <a:off x="4536440" y="2271448"/>
              <a:ext cx="226060" cy="415872"/>
            </a:xfrm>
            <a:custGeom>
              <a:avLst/>
              <a:gdLst>
                <a:gd name="connsiteX0" fmla="*/ 103505 w 226060"/>
                <a:gd name="connsiteY0" fmla="*/ 363167 h 415872"/>
                <a:gd name="connsiteX1" fmla="*/ 103505 w 226060"/>
                <a:gd name="connsiteY1" fmla="*/ 410792 h 415872"/>
                <a:gd name="connsiteX2" fmla="*/ 149224 w 226060"/>
                <a:gd name="connsiteY2" fmla="*/ 410792 h 415872"/>
                <a:gd name="connsiteX3" fmla="*/ 149224 w 226060"/>
                <a:gd name="connsiteY3" fmla="*/ 363167 h 415872"/>
                <a:gd name="connsiteX4" fmla="*/ 0 w 226060"/>
                <a:gd name="connsiteY4" fmla="*/ 0 h 415872"/>
                <a:gd name="connsiteX5" fmla="*/ 226060 w 226060"/>
                <a:gd name="connsiteY5" fmla="*/ 0 h 415872"/>
                <a:gd name="connsiteX6" fmla="*/ 226060 w 226060"/>
                <a:gd name="connsiteY6" fmla="*/ 415872 h 415872"/>
                <a:gd name="connsiteX7" fmla="*/ 0 w 226060"/>
                <a:gd name="connsiteY7" fmla="*/ 415872 h 41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060" h="415872">
                  <a:moveTo>
                    <a:pt x="103505" y="363167"/>
                  </a:moveTo>
                  <a:lnTo>
                    <a:pt x="103505" y="410792"/>
                  </a:lnTo>
                  <a:lnTo>
                    <a:pt x="149224" y="410792"/>
                  </a:lnTo>
                  <a:lnTo>
                    <a:pt x="149224" y="363167"/>
                  </a:lnTo>
                  <a:close/>
                  <a:moveTo>
                    <a:pt x="0" y="0"/>
                  </a:moveTo>
                  <a:lnTo>
                    <a:pt x="226060" y="0"/>
                  </a:lnTo>
                  <a:lnTo>
                    <a:pt x="226060" y="415872"/>
                  </a:lnTo>
                  <a:lnTo>
                    <a:pt x="0" y="415872"/>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1"/>
              <a:endParaRPr lang="en-US"/>
            </a:p>
          </p:txBody>
        </p:sp>
        <p:sp>
          <p:nvSpPr>
            <p:cNvPr id="11" name="Freeform: Shape 10">
              <a:extLst>
                <a:ext uri="{FF2B5EF4-FFF2-40B4-BE49-F238E27FC236}">
                  <a16:creationId xmlns:a16="http://schemas.microsoft.com/office/drawing/2014/main" id="{C17110BE-9121-4CBF-93BC-04FEC7501AE8}"/>
                </a:ext>
              </a:extLst>
            </p:cNvPr>
            <p:cNvSpPr/>
            <p:nvPr/>
          </p:nvSpPr>
          <p:spPr>
            <a:xfrm>
              <a:off x="4491940" y="2264520"/>
              <a:ext cx="447140" cy="447846"/>
            </a:xfrm>
            <a:custGeom>
              <a:avLst/>
              <a:gdLst>
                <a:gd name="connsiteX0" fmla="*/ 542848 w 557519"/>
                <a:gd name="connsiteY0" fmla="*/ 529057 h 558399"/>
                <a:gd name="connsiteX1" fmla="*/ 498833 w 557519"/>
                <a:gd name="connsiteY1" fmla="*/ 529057 h 558399"/>
                <a:gd name="connsiteX2" fmla="*/ 498833 w 557519"/>
                <a:gd name="connsiteY2" fmla="*/ 132924 h 558399"/>
                <a:gd name="connsiteX3" fmla="*/ 488856 w 557519"/>
                <a:gd name="connsiteY3" fmla="*/ 118253 h 558399"/>
                <a:gd name="connsiteX4" fmla="*/ 352117 w 557519"/>
                <a:gd name="connsiteY4" fmla="*/ 73358 h 558399"/>
                <a:gd name="connsiteX5" fmla="*/ 352117 w 557519"/>
                <a:gd name="connsiteY5" fmla="*/ 14672 h 558399"/>
                <a:gd name="connsiteX6" fmla="*/ 337446 w 557519"/>
                <a:gd name="connsiteY6" fmla="*/ 0 h 558399"/>
                <a:gd name="connsiteX7" fmla="*/ 73358 w 557519"/>
                <a:gd name="connsiteY7" fmla="*/ 0 h 558399"/>
                <a:gd name="connsiteX8" fmla="*/ 58686 w 557519"/>
                <a:gd name="connsiteY8" fmla="*/ 14672 h 558399"/>
                <a:gd name="connsiteX9" fmla="*/ 58686 w 557519"/>
                <a:gd name="connsiteY9" fmla="*/ 529057 h 558399"/>
                <a:gd name="connsiteX10" fmla="*/ 14672 w 557519"/>
                <a:gd name="connsiteY10" fmla="*/ 529057 h 558399"/>
                <a:gd name="connsiteX11" fmla="*/ 0 w 557519"/>
                <a:gd name="connsiteY11" fmla="*/ 543728 h 558399"/>
                <a:gd name="connsiteX12" fmla="*/ 14672 w 557519"/>
                <a:gd name="connsiteY12" fmla="*/ 558400 h 558399"/>
                <a:gd name="connsiteX13" fmla="*/ 542848 w 557519"/>
                <a:gd name="connsiteY13" fmla="*/ 558400 h 558399"/>
                <a:gd name="connsiteX14" fmla="*/ 557519 w 557519"/>
                <a:gd name="connsiteY14" fmla="*/ 543728 h 558399"/>
                <a:gd name="connsiteX15" fmla="*/ 542848 w 557519"/>
                <a:gd name="connsiteY15" fmla="*/ 529057 h 558399"/>
                <a:gd name="connsiteX16" fmla="*/ 469490 w 557519"/>
                <a:gd name="connsiteY16" fmla="*/ 143488 h 558399"/>
                <a:gd name="connsiteX17" fmla="*/ 469490 w 557519"/>
                <a:gd name="connsiteY17" fmla="*/ 529057 h 558399"/>
                <a:gd name="connsiteX18" fmla="*/ 352117 w 557519"/>
                <a:gd name="connsiteY18" fmla="*/ 529057 h 558399"/>
                <a:gd name="connsiteX19" fmla="*/ 352117 w 557519"/>
                <a:gd name="connsiteY19" fmla="*/ 104168 h 558399"/>
                <a:gd name="connsiteX20" fmla="*/ 190730 w 557519"/>
                <a:gd name="connsiteY20" fmla="*/ 529057 h 558399"/>
                <a:gd name="connsiteX21" fmla="*/ 190730 w 557519"/>
                <a:gd name="connsiteY21" fmla="*/ 470370 h 558399"/>
                <a:gd name="connsiteX22" fmla="*/ 220073 w 557519"/>
                <a:gd name="connsiteY22" fmla="*/ 470370 h 558399"/>
                <a:gd name="connsiteX23" fmla="*/ 220073 w 557519"/>
                <a:gd name="connsiteY23" fmla="*/ 529057 h 558399"/>
                <a:gd name="connsiteX24" fmla="*/ 234745 w 557519"/>
                <a:gd name="connsiteY24" fmla="*/ 441027 h 558399"/>
                <a:gd name="connsiteX25" fmla="*/ 176059 w 557519"/>
                <a:gd name="connsiteY25" fmla="*/ 441027 h 558399"/>
                <a:gd name="connsiteX26" fmla="*/ 161387 w 557519"/>
                <a:gd name="connsiteY26" fmla="*/ 455699 h 558399"/>
                <a:gd name="connsiteX27" fmla="*/ 161387 w 557519"/>
                <a:gd name="connsiteY27" fmla="*/ 529057 h 558399"/>
                <a:gd name="connsiteX28" fmla="*/ 88029 w 557519"/>
                <a:gd name="connsiteY28" fmla="*/ 529057 h 558399"/>
                <a:gd name="connsiteX29" fmla="*/ 88029 w 557519"/>
                <a:gd name="connsiteY29" fmla="*/ 30223 h 558399"/>
                <a:gd name="connsiteX30" fmla="*/ 322774 w 557519"/>
                <a:gd name="connsiteY30" fmla="*/ 30223 h 558399"/>
                <a:gd name="connsiteX31" fmla="*/ 322774 w 557519"/>
                <a:gd name="connsiteY31" fmla="*/ 529057 h 558399"/>
                <a:gd name="connsiteX32" fmla="*/ 249417 w 557519"/>
                <a:gd name="connsiteY32" fmla="*/ 529057 h 558399"/>
                <a:gd name="connsiteX33" fmla="*/ 249417 w 557519"/>
                <a:gd name="connsiteY33" fmla="*/ 454818 h 558399"/>
                <a:gd name="connsiteX34" fmla="*/ 234745 w 557519"/>
                <a:gd name="connsiteY34" fmla="*/ 441027 h 558399"/>
                <a:gd name="connsiteX35" fmla="*/ 190143 w 557519"/>
                <a:gd name="connsiteY35" fmla="*/ 367669 h 558399"/>
                <a:gd name="connsiteX36" fmla="*/ 176059 w 557519"/>
                <a:gd name="connsiteY36" fmla="*/ 382341 h 558399"/>
                <a:gd name="connsiteX37" fmla="*/ 146716 w 557519"/>
                <a:gd name="connsiteY37" fmla="*/ 382341 h 558399"/>
                <a:gd name="connsiteX38" fmla="*/ 132044 w 557519"/>
                <a:gd name="connsiteY38" fmla="*/ 367669 h 558399"/>
                <a:gd name="connsiteX39" fmla="*/ 146716 w 557519"/>
                <a:gd name="connsiteY39" fmla="*/ 352998 h 558399"/>
                <a:gd name="connsiteX40" fmla="*/ 176059 w 557519"/>
                <a:gd name="connsiteY40" fmla="*/ 352998 h 558399"/>
                <a:gd name="connsiteX41" fmla="*/ 190143 w 557519"/>
                <a:gd name="connsiteY41" fmla="*/ 367669 h 558399"/>
                <a:gd name="connsiteX42" fmla="*/ 265849 w 557519"/>
                <a:gd name="connsiteY42" fmla="*/ 382341 h 558399"/>
                <a:gd name="connsiteX43" fmla="*/ 234745 w 557519"/>
                <a:gd name="connsiteY43" fmla="*/ 382341 h 558399"/>
                <a:gd name="connsiteX44" fmla="*/ 220073 w 557519"/>
                <a:gd name="connsiteY44" fmla="*/ 367669 h 558399"/>
                <a:gd name="connsiteX45" fmla="*/ 234745 w 557519"/>
                <a:gd name="connsiteY45" fmla="*/ 352998 h 558399"/>
                <a:gd name="connsiteX46" fmla="*/ 264088 w 557519"/>
                <a:gd name="connsiteY46" fmla="*/ 352998 h 558399"/>
                <a:gd name="connsiteX47" fmla="*/ 278760 w 557519"/>
                <a:gd name="connsiteY47" fmla="*/ 367669 h 558399"/>
                <a:gd name="connsiteX48" fmla="*/ 264088 w 557519"/>
                <a:gd name="connsiteY48" fmla="*/ 382341 h 558399"/>
                <a:gd name="connsiteX49" fmla="*/ 190143 w 557519"/>
                <a:gd name="connsiteY49" fmla="*/ 279640 h 558399"/>
                <a:gd name="connsiteX50" fmla="*/ 176059 w 557519"/>
                <a:gd name="connsiteY50" fmla="*/ 294312 h 558399"/>
                <a:gd name="connsiteX51" fmla="*/ 146716 w 557519"/>
                <a:gd name="connsiteY51" fmla="*/ 294312 h 558399"/>
                <a:gd name="connsiteX52" fmla="*/ 132044 w 557519"/>
                <a:gd name="connsiteY52" fmla="*/ 279640 h 558399"/>
                <a:gd name="connsiteX53" fmla="*/ 146716 w 557519"/>
                <a:gd name="connsiteY53" fmla="*/ 264968 h 558399"/>
                <a:gd name="connsiteX54" fmla="*/ 176059 w 557519"/>
                <a:gd name="connsiteY54" fmla="*/ 264968 h 558399"/>
                <a:gd name="connsiteX55" fmla="*/ 190143 w 557519"/>
                <a:gd name="connsiteY55" fmla="*/ 279640 h 558399"/>
                <a:gd name="connsiteX56" fmla="*/ 219487 w 557519"/>
                <a:gd name="connsiteY56" fmla="*/ 279640 h 558399"/>
                <a:gd name="connsiteX57" fmla="*/ 234146 w 557519"/>
                <a:gd name="connsiteY57" fmla="*/ 264957 h 558399"/>
                <a:gd name="connsiteX58" fmla="*/ 234745 w 557519"/>
                <a:gd name="connsiteY58" fmla="*/ 264968 h 558399"/>
                <a:gd name="connsiteX59" fmla="*/ 264088 w 557519"/>
                <a:gd name="connsiteY59" fmla="*/ 264968 h 558399"/>
                <a:gd name="connsiteX60" fmla="*/ 278760 w 557519"/>
                <a:gd name="connsiteY60" fmla="*/ 279640 h 558399"/>
                <a:gd name="connsiteX61" fmla="*/ 264088 w 557519"/>
                <a:gd name="connsiteY61" fmla="*/ 294312 h 558399"/>
                <a:gd name="connsiteX62" fmla="*/ 234745 w 557519"/>
                <a:gd name="connsiteY62" fmla="*/ 294312 h 558399"/>
                <a:gd name="connsiteX63" fmla="*/ 220660 w 557519"/>
                <a:gd name="connsiteY63" fmla="*/ 279640 h 558399"/>
                <a:gd name="connsiteX64" fmla="*/ 190143 w 557519"/>
                <a:gd name="connsiteY64" fmla="*/ 191611 h 558399"/>
                <a:gd name="connsiteX65" fmla="*/ 176059 w 557519"/>
                <a:gd name="connsiteY65" fmla="*/ 206282 h 558399"/>
                <a:gd name="connsiteX66" fmla="*/ 146716 w 557519"/>
                <a:gd name="connsiteY66" fmla="*/ 206282 h 558399"/>
                <a:gd name="connsiteX67" fmla="*/ 132044 w 557519"/>
                <a:gd name="connsiteY67" fmla="*/ 191611 h 558399"/>
                <a:gd name="connsiteX68" fmla="*/ 146716 w 557519"/>
                <a:gd name="connsiteY68" fmla="*/ 176939 h 558399"/>
                <a:gd name="connsiteX69" fmla="*/ 176059 w 557519"/>
                <a:gd name="connsiteY69" fmla="*/ 176939 h 558399"/>
                <a:gd name="connsiteX70" fmla="*/ 190143 w 557519"/>
                <a:gd name="connsiteY70" fmla="*/ 191611 h 558399"/>
                <a:gd name="connsiteX71" fmla="*/ 219487 w 557519"/>
                <a:gd name="connsiteY71" fmla="*/ 191611 h 558399"/>
                <a:gd name="connsiteX72" fmla="*/ 234146 w 557519"/>
                <a:gd name="connsiteY72" fmla="*/ 176927 h 558399"/>
                <a:gd name="connsiteX73" fmla="*/ 234745 w 557519"/>
                <a:gd name="connsiteY73" fmla="*/ 176939 h 558399"/>
                <a:gd name="connsiteX74" fmla="*/ 264088 w 557519"/>
                <a:gd name="connsiteY74" fmla="*/ 176939 h 558399"/>
                <a:gd name="connsiteX75" fmla="*/ 278760 w 557519"/>
                <a:gd name="connsiteY75" fmla="*/ 191611 h 558399"/>
                <a:gd name="connsiteX76" fmla="*/ 264088 w 557519"/>
                <a:gd name="connsiteY76" fmla="*/ 206282 h 558399"/>
                <a:gd name="connsiteX77" fmla="*/ 234745 w 557519"/>
                <a:gd name="connsiteY77" fmla="*/ 206282 h 558399"/>
                <a:gd name="connsiteX78" fmla="*/ 220660 w 557519"/>
                <a:gd name="connsiteY78" fmla="*/ 191611 h 558399"/>
                <a:gd name="connsiteX79" fmla="*/ 190143 w 557519"/>
                <a:gd name="connsiteY79" fmla="*/ 103581 h 558399"/>
                <a:gd name="connsiteX80" fmla="*/ 176059 w 557519"/>
                <a:gd name="connsiteY80" fmla="*/ 118253 h 558399"/>
                <a:gd name="connsiteX81" fmla="*/ 146716 w 557519"/>
                <a:gd name="connsiteY81" fmla="*/ 118253 h 558399"/>
                <a:gd name="connsiteX82" fmla="*/ 132044 w 557519"/>
                <a:gd name="connsiteY82" fmla="*/ 103581 h 558399"/>
                <a:gd name="connsiteX83" fmla="*/ 146716 w 557519"/>
                <a:gd name="connsiteY83" fmla="*/ 88910 h 558399"/>
                <a:gd name="connsiteX84" fmla="*/ 176059 w 557519"/>
                <a:gd name="connsiteY84" fmla="*/ 88910 h 558399"/>
                <a:gd name="connsiteX85" fmla="*/ 190143 w 557519"/>
                <a:gd name="connsiteY85" fmla="*/ 103581 h 558399"/>
                <a:gd name="connsiteX86" fmla="*/ 219487 w 557519"/>
                <a:gd name="connsiteY86" fmla="*/ 103581 h 558399"/>
                <a:gd name="connsiteX87" fmla="*/ 234146 w 557519"/>
                <a:gd name="connsiteY87" fmla="*/ 88898 h 558399"/>
                <a:gd name="connsiteX88" fmla="*/ 234745 w 557519"/>
                <a:gd name="connsiteY88" fmla="*/ 88910 h 558399"/>
                <a:gd name="connsiteX89" fmla="*/ 264088 w 557519"/>
                <a:gd name="connsiteY89" fmla="*/ 88910 h 558399"/>
                <a:gd name="connsiteX90" fmla="*/ 278760 w 557519"/>
                <a:gd name="connsiteY90" fmla="*/ 103581 h 558399"/>
                <a:gd name="connsiteX91" fmla="*/ 264088 w 557519"/>
                <a:gd name="connsiteY91" fmla="*/ 118253 h 558399"/>
                <a:gd name="connsiteX92" fmla="*/ 234745 w 557519"/>
                <a:gd name="connsiteY92" fmla="*/ 118253 h 558399"/>
                <a:gd name="connsiteX93" fmla="*/ 220660 w 557519"/>
                <a:gd name="connsiteY93" fmla="*/ 103581 h 558399"/>
                <a:gd name="connsiteX94" fmla="*/ 438973 w 557519"/>
                <a:gd name="connsiteY94" fmla="*/ 455699 h 558399"/>
                <a:gd name="connsiteX95" fmla="*/ 424302 w 557519"/>
                <a:gd name="connsiteY95" fmla="*/ 470370 h 558399"/>
                <a:gd name="connsiteX96" fmla="*/ 394958 w 557519"/>
                <a:gd name="connsiteY96" fmla="*/ 470370 h 558399"/>
                <a:gd name="connsiteX97" fmla="*/ 380287 w 557519"/>
                <a:gd name="connsiteY97" fmla="*/ 455699 h 558399"/>
                <a:gd name="connsiteX98" fmla="*/ 394958 w 557519"/>
                <a:gd name="connsiteY98" fmla="*/ 441027 h 558399"/>
                <a:gd name="connsiteX99" fmla="*/ 424302 w 557519"/>
                <a:gd name="connsiteY99" fmla="*/ 441027 h 558399"/>
                <a:gd name="connsiteX100" fmla="*/ 440120 w 557519"/>
                <a:gd name="connsiteY100" fmla="*/ 454452 h 558399"/>
                <a:gd name="connsiteX101" fmla="*/ 440147 w 557519"/>
                <a:gd name="connsiteY101" fmla="*/ 454818 h 558399"/>
                <a:gd name="connsiteX102" fmla="*/ 380287 w 557519"/>
                <a:gd name="connsiteY102" fmla="*/ 367669 h 558399"/>
                <a:gd name="connsiteX103" fmla="*/ 394958 w 557519"/>
                <a:gd name="connsiteY103" fmla="*/ 352998 h 558399"/>
                <a:gd name="connsiteX104" fmla="*/ 424302 w 557519"/>
                <a:gd name="connsiteY104" fmla="*/ 352998 h 558399"/>
                <a:gd name="connsiteX105" fmla="*/ 438973 w 557519"/>
                <a:gd name="connsiteY105" fmla="*/ 367669 h 558399"/>
                <a:gd name="connsiteX106" fmla="*/ 424302 w 557519"/>
                <a:gd name="connsiteY106" fmla="*/ 382341 h 558399"/>
                <a:gd name="connsiteX107" fmla="*/ 394958 w 557519"/>
                <a:gd name="connsiteY107" fmla="*/ 382341 h 558399"/>
                <a:gd name="connsiteX108" fmla="*/ 381461 w 557519"/>
                <a:gd name="connsiteY108" fmla="*/ 367083 h 558399"/>
                <a:gd name="connsiteX109" fmla="*/ 380287 w 557519"/>
                <a:gd name="connsiteY109" fmla="*/ 279640 h 558399"/>
                <a:gd name="connsiteX110" fmla="*/ 394958 w 557519"/>
                <a:gd name="connsiteY110" fmla="*/ 264968 h 558399"/>
                <a:gd name="connsiteX111" fmla="*/ 424302 w 557519"/>
                <a:gd name="connsiteY111" fmla="*/ 264968 h 558399"/>
                <a:gd name="connsiteX112" fmla="*/ 438973 w 557519"/>
                <a:gd name="connsiteY112" fmla="*/ 279640 h 558399"/>
                <a:gd name="connsiteX113" fmla="*/ 424302 w 557519"/>
                <a:gd name="connsiteY113" fmla="*/ 294312 h 558399"/>
                <a:gd name="connsiteX114" fmla="*/ 394958 w 557519"/>
                <a:gd name="connsiteY114" fmla="*/ 294312 h 558399"/>
                <a:gd name="connsiteX115" fmla="*/ 381461 w 557519"/>
                <a:gd name="connsiteY115" fmla="*/ 279640 h 558399"/>
                <a:gd name="connsiteX116" fmla="*/ 380287 w 557519"/>
                <a:gd name="connsiteY116" fmla="*/ 191611 h 558399"/>
                <a:gd name="connsiteX117" fmla="*/ 394958 w 557519"/>
                <a:gd name="connsiteY117" fmla="*/ 176939 h 558399"/>
                <a:gd name="connsiteX118" fmla="*/ 424302 w 557519"/>
                <a:gd name="connsiteY118" fmla="*/ 176939 h 558399"/>
                <a:gd name="connsiteX119" fmla="*/ 438973 w 557519"/>
                <a:gd name="connsiteY119" fmla="*/ 191611 h 558399"/>
                <a:gd name="connsiteX120" fmla="*/ 424302 w 557519"/>
                <a:gd name="connsiteY120" fmla="*/ 206282 h 558399"/>
                <a:gd name="connsiteX121" fmla="*/ 394958 w 557519"/>
                <a:gd name="connsiteY121" fmla="*/ 206282 h 558399"/>
                <a:gd name="connsiteX122" fmla="*/ 381461 w 557519"/>
                <a:gd name="connsiteY122" fmla="*/ 192198 h 55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557519" h="558399">
                  <a:moveTo>
                    <a:pt x="542848" y="529057"/>
                  </a:moveTo>
                  <a:lnTo>
                    <a:pt x="498833" y="529057"/>
                  </a:lnTo>
                  <a:lnTo>
                    <a:pt x="498833" y="132924"/>
                  </a:lnTo>
                  <a:cubicBezTo>
                    <a:pt x="499282" y="126320"/>
                    <a:pt x="495162" y="120264"/>
                    <a:pt x="488856" y="118253"/>
                  </a:cubicBezTo>
                  <a:lnTo>
                    <a:pt x="352117" y="73358"/>
                  </a:lnTo>
                  <a:lnTo>
                    <a:pt x="352117" y="14672"/>
                  </a:lnTo>
                  <a:cubicBezTo>
                    <a:pt x="352117" y="6569"/>
                    <a:pt x="345548" y="0"/>
                    <a:pt x="337446" y="0"/>
                  </a:cubicBezTo>
                  <a:lnTo>
                    <a:pt x="73358" y="0"/>
                  </a:lnTo>
                  <a:cubicBezTo>
                    <a:pt x="65255" y="0"/>
                    <a:pt x="58686" y="6569"/>
                    <a:pt x="58686" y="14672"/>
                  </a:cubicBezTo>
                  <a:lnTo>
                    <a:pt x="58686" y="529057"/>
                  </a:lnTo>
                  <a:lnTo>
                    <a:pt x="14672" y="529057"/>
                  </a:lnTo>
                  <a:cubicBezTo>
                    <a:pt x="6569" y="529057"/>
                    <a:pt x="0" y="535627"/>
                    <a:pt x="0" y="543728"/>
                  </a:cubicBezTo>
                  <a:cubicBezTo>
                    <a:pt x="0" y="551830"/>
                    <a:pt x="6569" y="558400"/>
                    <a:pt x="14672" y="558400"/>
                  </a:cubicBezTo>
                  <a:lnTo>
                    <a:pt x="542848" y="558400"/>
                  </a:lnTo>
                  <a:cubicBezTo>
                    <a:pt x="550949" y="558400"/>
                    <a:pt x="557519" y="551830"/>
                    <a:pt x="557519" y="543728"/>
                  </a:cubicBezTo>
                  <a:cubicBezTo>
                    <a:pt x="557519" y="535627"/>
                    <a:pt x="550949" y="529057"/>
                    <a:pt x="542848" y="529057"/>
                  </a:cubicBezTo>
                  <a:close/>
                  <a:moveTo>
                    <a:pt x="469490" y="143488"/>
                  </a:moveTo>
                  <a:lnTo>
                    <a:pt x="469490" y="529057"/>
                  </a:lnTo>
                  <a:lnTo>
                    <a:pt x="352117" y="529057"/>
                  </a:lnTo>
                  <a:lnTo>
                    <a:pt x="352117" y="104168"/>
                  </a:lnTo>
                  <a:close/>
                  <a:moveTo>
                    <a:pt x="190730" y="529057"/>
                  </a:moveTo>
                  <a:lnTo>
                    <a:pt x="190730" y="470370"/>
                  </a:lnTo>
                  <a:lnTo>
                    <a:pt x="220073" y="470370"/>
                  </a:lnTo>
                  <a:lnTo>
                    <a:pt x="220073" y="529057"/>
                  </a:lnTo>
                  <a:close/>
                  <a:moveTo>
                    <a:pt x="234745" y="441027"/>
                  </a:moveTo>
                  <a:lnTo>
                    <a:pt x="176059" y="441027"/>
                  </a:lnTo>
                  <a:cubicBezTo>
                    <a:pt x="167956" y="441027"/>
                    <a:pt x="161387" y="447597"/>
                    <a:pt x="161387" y="455699"/>
                  </a:cubicBezTo>
                  <a:lnTo>
                    <a:pt x="161387" y="529057"/>
                  </a:lnTo>
                  <a:lnTo>
                    <a:pt x="88029" y="529057"/>
                  </a:lnTo>
                  <a:lnTo>
                    <a:pt x="88029" y="30223"/>
                  </a:lnTo>
                  <a:lnTo>
                    <a:pt x="322774" y="30223"/>
                  </a:lnTo>
                  <a:lnTo>
                    <a:pt x="322774" y="529057"/>
                  </a:lnTo>
                  <a:lnTo>
                    <a:pt x="249417" y="529057"/>
                  </a:lnTo>
                  <a:lnTo>
                    <a:pt x="249417" y="454818"/>
                  </a:lnTo>
                  <a:cubicBezTo>
                    <a:pt x="248950" y="447060"/>
                    <a:pt x="242515" y="441013"/>
                    <a:pt x="234745" y="441027"/>
                  </a:cubicBezTo>
                  <a:close/>
                  <a:moveTo>
                    <a:pt x="190143" y="367669"/>
                  </a:moveTo>
                  <a:cubicBezTo>
                    <a:pt x="190150" y="375548"/>
                    <a:pt x="183931" y="382027"/>
                    <a:pt x="176059" y="382341"/>
                  </a:cubicBezTo>
                  <a:lnTo>
                    <a:pt x="146716" y="382341"/>
                  </a:lnTo>
                  <a:cubicBezTo>
                    <a:pt x="138613" y="382341"/>
                    <a:pt x="132044" y="375771"/>
                    <a:pt x="132044" y="367669"/>
                  </a:cubicBezTo>
                  <a:cubicBezTo>
                    <a:pt x="132044" y="359568"/>
                    <a:pt x="138613" y="352998"/>
                    <a:pt x="146716" y="352998"/>
                  </a:cubicBezTo>
                  <a:lnTo>
                    <a:pt x="176059" y="352998"/>
                  </a:lnTo>
                  <a:cubicBezTo>
                    <a:pt x="183931" y="353312"/>
                    <a:pt x="190150" y="359791"/>
                    <a:pt x="190143" y="367669"/>
                  </a:cubicBezTo>
                  <a:close/>
                  <a:moveTo>
                    <a:pt x="265849" y="382341"/>
                  </a:moveTo>
                  <a:lnTo>
                    <a:pt x="234745" y="382341"/>
                  </a:lnTo>
                  <a:cubicBezTo>
                    <a:pt x="226643" y="382341"/>
                    <a:pt x="220073" y="375771"/>
                    <a:pt x="220073" y="367669"/>
                  </a:cubicBezTo>
                  <a:cubicBezTo>
                    <a:pt x="220073" y="359568"/>
                    <a:pt x="226643" y="352998"/>
                    <a:pt x="234745" y="352998"/>
                  </a:cubicBezTo>
                  <a:lnTo>
                    <a:pt x="264088" y="352998"/>
                  </a:lnTo>
                  <a:cubicBezTo>
                    <a:pt x="272190" y="352998"/>
                    <a:pt x="278760" y="359568"/>
                    <a:pt x="278760" y="367669"/>
                  </a:cubicBezTo>
                  <a:cubicBezTo>
                    <a:pt x="278760" y="375771"/>
                    <a:pt x="272190" y="382341"/>
                    <a:pt x="264088" y="382341"/>
                  </a:cubicBezTo>
                  <a:close/>
                  <a:moveTo>
                    <a:pt x="190143" y="279640"/>
                  </a:moveTo>
                  <a:cubicBezTo>
                    <a:pt x="190150" y="287519"/>
                    <a:pt x="183931" y="293998"/>
                    <a:pt x="176059" y="294312"/>
                  </a:cubicBezTo>
                  <a:lnTo>
                    <a:pt x="146716" y="294312"/>
                  </a:lnTo>
                  <a:cubicBezTo>
                    <a:pt x="138613" y="294312"/>
                    <a:pt x="132044" y="287742"/>
                    <a:pt x="132044" y="279640"/>
                  </a:cubicBezTo>
                  <a:cubicBezTo>
                    <a:pt x="132044" y="271538"/>
                    <a:pt x="138613" y="264968"/>
                    <a:pt x="146716" y="264968"/>
                  </a:cubicBezTo>
                  <a:lnTo>
                    <a:pt x="176059" y="264968"/>
                  </a:lnTo>
                  <a:cubicBezTo>
                    <a:pt x="183931" y="265282"/>
                    <a:pt x="190150" y="271761"/>
                    <a:pt x="190143" y="279640"/>
                  </a:cubicBezTo>
                  <a:close/>
                  <a:moveTo>
                    <a:pt x="219487" y="279640"/>
                  </a:moveTo>
                  <a:cubicBezTo>
                    <a:pt x="219481" y="271538"/>
                    <a:pt x="226045" y="264963"/>
                    <a:pt x="234146" y="264957"/>
                  </a:cubicBezTo>
                  <a:cubicBezTo>
                    <a:pt x="234346" y="264957"/>
                    <a:pt x="234545" y="264960"/>
                    <a:pt x="234745" y="264968"/>
                  </a:cubicBezTo>
                  <a:lnTo>
                    <a:pt x="264088" y="264968"/>
                  </a:lnTo>
                  <a:cubicBezTo>
                    <a:pt x="272190" y="264968"/>
                    <a:pt x="278760" y="271538"/>
                    <a:pt x="278760" y="279640"/>
                  </a:cubicBezTo>
                  <a:cubicBezTo>
                    <a:pt x="278760" y="287742"/>
                    <a:pt x="272190" y="294312"/>
                    <a:pt x="264088" y="294312"/>
                  </a:cubicBezTo>
                  <a:lnTo>
                    <a:pt x="234745" y="294312"/>
                  </a:lnTo>
                  <a:cubicBezTo>
                    <a:pt x="226872" y="293998"/>
                    <a:pt x="220654" y="287519"/>
                    <a:pt x="220660" y="279640"/>
                  </a:cubicBezTo>
                  <a:close/>
                  <a:moveTo>
                    <a:pt x="190143" y="191611"/>
                  </a:moveTo>
                  <a:cubicBezTo>
                    <a:pt x="190150" y="199490"/>
                    <a:pt x="183931" y="205967"/>
                    <a:pt x="176059" y="206282"/>
                  </a:cubicBezTo>
                  <a:lnTo>
                    <a:pt x="146716" y="206282"/>
                  </a:lnTo>
                  <a:cubicBezTo>
                    <a:pt x="138613" y="206282"/>
                    <a:pt x="132044" y="199713"/>
                    <a:pt x="132044" y="191611"/>
                  </a:cubicBezTo>
                  <a:cubicBezTo>
                    <a:pt x="132044" y="183508"/>
                    <a:pt x="138613" y="176939"/>
                    <a:pt x="146716" y="176939"/>
                  </a:cubicBezTo>
                  <a:lnTo>
                    <a:pt x="176059" y="176939"/>
                  </a:lnTo>
                  <a:cubicBezTo>
                    <a:pt x="183931" y="177254"/>
                    <a:pt x="190150" y="183731"/>
                    <a:pt x="190143" y="191611"/>
                  </a:cubicBezTo>
                  <a:close/>
                  <a:moveTo>
                    <a:pt x="219487" y="191611"/>
                  </a:moveTo>
                  <a:cubicBezTo>
                    <a:pt x="219481" y="183508"/>
                    <a:pt x="226045" y="176934"/>
                    <a:pt x="234146" y="176927"/>
                  </a:cubicBezTo>
                  <a:cubicBezTo>
                    <a:pt x="234346" y="176927"/>
                    <a:pt x="234545" y="176931"/>
                    <a:pt x="234745" y="176939"/>
                  </a:cubicBezTo>
                  <a:lnTo>
                    <a:pt x="264088" y="176939"/>
                  </a:lnTo>
                  <a:cubicBezTo>
                    <a:pt x="272190" y="176939"/>
                    <a:pt x="278760" y="183508"/>
                    <a:pt x="278760" y="191611"/>
                  </a:cubicBezTo>
                  <a:cubicBezTo>
                    <a:pt x="278760" y="199713"/>
                    <a:pt x="272190" y="206282"/>
                    <a:pt x="264088" y="206282"/>
                  </a:cubicBezTo>
                  <a:lnTo>
                    <a:pt x="234745" y="206282"/>
                  </a:lnTo>
                  <a:cubicBezTo>
                    <a:pt x="226872" y="205967"/>
                    <a:pt x="220654" y="199490"/>
                    <a:pt x="220660" y="191611"/>
                  </a:cubicBezTo>
                  <a:close/>
                  <a:moveTo>
                    <a:pt x="190143" y="103581"/>
                  </a:moveTo>
                  <a:cubicBezTo>
                    <a:pt x="190150" y="111460"/>
                    <a:pt x="183931" y="117938"/>
                    <a:pt x="176059" y="118253"/>
                  </a:cubicBezTo>
                  <a:lnTo>
                    <a:pt x="146716" y="118253"/>
                  </a:lnTo>
                  <a:cubicBezTo>
                    <a:pt x="138613" y="118253"/>
                    <a:pt x="132044" y="111684"/>
                    <a:pt x="132044" y="103581"/>
                  </a:cubicBezTo>
                  <a:cubicBezTo>
                    <a:pt x="132044" y="95478"/>
                    <a:pt x="138613" y="88910"/>
                    <a:pt x="146716" y="88910"/>
                  </a:cubicBezTo>
                  <a:lnTo>
                    <a:pt x="176059" y="88910"/>
                  </a:lnTo>
                  <a:cubicBezTo>
                    <a:pt x="183931" y="89225"/>
                    <a:pt x="190150" y="95702"/>
                    <a:pt x="190143" y="103581"/>
                  </a:cubicBezTo>
                  <a:close/>
                  <a:moveTo>
                    <a:pt x="219487" y="103581"/>
                  </a:moveTo>
                  <a:cubicBezTo>
                    <a:pt x="219481" y="95478"/>
                    <a:pt x="226045" y="88904"/>
                    <a:pt x="234146" y="88898"/>
                  </a:cubicBezTo>
                  <a:cubicBezTo>
                    <a:pt x="234346" y="88898"/>
                    <a:pt x="234545" y="88902"/>
                    <a:pt x="234745" y="88910"/>
                  </a:cubicBezTo>
                  <a:lnTo>
                    <a:pt x="264088" y="88910"/>
                  </a:lnTo>
                  <a:cubicBezTo>
                    <a:pt x="272190" y="88910"/>
                    <a:pt x="278760" y="95478"/>
                    <a:pt x="278760" y="103581"/>
                  </a:cubicBezTo>
                  <a:cubicBezTo>
                    <a:pt x="278760" y="111684"/>
                    <a:pt x="272190" y="118253"/>
                    <a:pt x="264088" y="118253"/>
                  </a:cubicBezTo>
                  <a:lnTo>
                    <a:pt x="234745" y="118253"/>
                  </a:lnTo>
                  <a:cubicBezTo>
                    <a:pt x="226872" y="117938"/>
                    <a:pt x="220654" y="111460"/>
                    <a:pt x="220660" y="103581"/>
                  </a:cubicBezTo>
                  <a:close/>
                  <a:moveTo>
                    <a:pt x="438973" y="455699"/>
                  </a:moveTo>
                  <a:cubicBezTo>
                    <a:pt x="438973" y="463800"/>
                    <a:pt x="432403" y="470370"/>
                    <a:pt x="424302" y="470370"/>
                  </a:cubicBezTo>
                  <a:lnTo>
                    <a:pt x="394958" y="470370"/>
                  </a:lnTo>
                  <a:cubicBezTo>
                    <a:pt x="386857" y="470370"/>
                    <a:pt x="380287" y="463800"/>
                    <a:pt x="380287" y="455699"/>
                  </a:cubicBezTo>
                  <a:cubicBezTo>
                    <a:pt x="380287" y="447597"/>
                    <a:pt x="386857" y="441027"/>
                    <a:pt x="394958" y="441027"/>
                  </a:cubicBezTo>
                  <a:lnTo>
                    <a:pt x="424302" y="441027"/>
                  </a:lnTo>
                  <a:cubicBezTo>
                    <a:pt x="432377" y="440367"/>
                    <a:pt x="439460" y="446377"/>
                    <a:pt x="440120" y="454452"/>
                  </a:cubicBezTo>
                  <a:cubicBezTo>
                    <a:pt x="440132" y="454575"/>
                    <a:pt x="440141" y="454695"/>
                    <a:pt x="440147" y="454818"/>
                  </a:cubicBezTo>
                  <a:close/>
                  <a:moveTo>
                    <a:pt x="380287" y="367669"/>
                  </a:moveTo>
                  <a:cubicBezTo>
                    <a:pt x="380442" y="359632"/>
                    <a:pt x="386921" y="353153"/>
                    <a:pt x="394958" y="352998"/>
                  </a:cubicBezTo>
                  <a:lnTo>
                    <a:pt x="424302" y="352998"/>
                  </a:lnTo>
                  <a:cubicBezTo>
                    <a:pt x="432339" y="353153"/>
                    <a:pt x="438818" y="359632"/>
                    <a:pt x="438973" y="367669"/>
                  </a:cubicBezTo>
                  <a:cubicBezTo>
                    <a:pt x="438973" y="375771"/>
                    <a:pt x="432403" y="382341"/>
                    <a:pt x="424302" y="382341"/>
                  </a:cubicBezTo>
                  <a:lnTo>
                    <a:pt x="394958" y="382341"/>
                  </a:lnTo>
                  <a:cubicBezTo>
                    <a:pt x="387086" y="381716"/>
                    <a:pt x="381120" y="374973"/>
                    <a:pt x="381461" y="367083"/>
                  </a:cubicBezTo>
                  <a:close/>
                  <a:moveTo>
                    <a:pt x="380287" y="279640"/>
                  </a:moveTo>
                  <a:cubicBezTo>
                    <a:pt x="380287" y="271538"/>
                    <a:pt x="386857" y="264968"/>
                    <a:pt x="394958" y="264968"/>
                  </a:cubicBezTo>
                  <a:lnTo>
                    <a:pt x="424302" y="264968"/>
                  </a:lnTo>
                  <a:cubicBezTo>
                    <a:pt x="432403" y="264968"/>
                    <a:pt x="438973" y="271538"/>
                    <a:pt x="438973" y="279640"/>
                  </a:cubicBezTo>
                  <a:cubicBezTo>
                    <a:pt x="438973" y="287742"/>
                    <a:pt x="432403" y="294312"/>
                    <a:pt x="424302" y="294312"/>
                  </a:cubicBezTo>
                  <a:lnTo>
                    <a:pt x="394958" y="294312"/>
                  </a:lnTo>
                  <a:cubicBezTo>
                    <a:pt x="387317" y="293698"/>
                    <a:pt x="381437" y="287304"/>
                    <a:pt x="381461" y="279640"/>
                  </a:cubicBezTo>
                  <a:close/>
                  <a:moveTo>
                    <a:pt x="380287" y="191611"/>
                  </a:moveTo>
                  <a:cubicBezTo>
                    <a:pt x="380287" y="183508"/>
                    <a:pt x="386857" y="176939"/>
                    <a:pt x="394958" y="176939"/>
                  </a:cubicBezTo>
                  <a:lnTo>
                    <a:pt x="424302" y="176939"/>
                  </a:lnTo>
                  <a:cubicBezTo>
                    <a:pt x="432403" y="176939"/>
                    <a:pt x="438973" y="183508"/>
                    <a:pt x="438973" y="191611"/>
                  </a:cubicBezTo>
                  <a:cubicBezTo>
                    <a:pt x="438818" y="199648"/>
                    <a:pt x="432339" y="206126"/>
                    <a:pt x="424302" y="206282"/>
                  </a:cubicBezTo>
                  <a:lnTo>
                    <a:pt x="394958" y="206282"/>
                  </a:lnTo>
                  <a:cubicBezTo>
                    <a:pt x="387596" y="205568"/>
                    <a:pt x="381860" y="199583"/>
                    <a:pt x="381461" y="192198"/>
                  </a:cubicBezTo>
                  <a:close/>
                </a:path>
              </a:pathLst>
            </a:custGeom>
            <a:solidFill>
              <a:schemeClr val="tx1"/>
            </a:solidFill>
            <a:ln w="29337" cap="flat">
              <a:noFill/>
              <a:prstDash val="solid"/>
              <a:miter/>
            </a:ln>
          </p:spPr>
          <p:txBody>
            <a:bodyPr rtlCol="0" anchor="ctr"/>
            <a:lstStyle/>
            <a:p>
              <a:pPr algn="r" rtl="1"/>
              <a:endParaRPr lang="en-US"/>
            </a:p>
          </p:txBody>
        </p:sp>
      </p:grpSp>
      <p:pic>
        <p:nvPicPr>
          <p:cNvPr id="35" name="Picture 34">
            <a:extLst>
              <a:ext uri="{FF2B5EF4-FFF2-40B4-BE49-F238E27FC236}">
                <a16:creationId xmlns:a16="http://schemas.microsoft.com/office/drawing/2014/main" id="{7165DED3-65E3-4EDA-9096-64A369A6F4D8}"/>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402474" y="2258968"/>
            <a:ext cx="864738" cy="452608"/>
          </a:xfrm>
          <a:prstGeom prst="rect">
            <a:avLst/>
          </a:prstGeom>
        </p:spPr>
      </p:pic>
      <p:grpSp>
        <p:nvGrpSpPr>
          <p:cNvPr id="43" name="Group 42">
            <a:extLst>
              <a:ext uri="{FF2B5EF4-FFF2-40B4-BE49-F238E27FC236}">
                <a16:creationId xmlns:a16="http://schemas.microsoft.com/office/drawing/2014/main" id="{45E61543-F153-4FC2-AA3C-AE1795B9AA07}"/>
              </a:ext>
            </a:extLst>
          </p:cNvPr>
          <p:cNvGrpSpPr/>
          <p:nvPr/>
        </p:nvGrpSpPr>
        <p:grpSpPr>
          <a:xfrm>
            <a:off x="10037476" y="2248520"/>
            <a:ext cx="485500" cy="420766"/>
            <a:chOff x="5130808" y="2253638"/>
            <a:chExt cx="485500" cy="420766"/>
          </a:xfrm>
        </p:grpSpPr>
        <p:sp>
          <p:nvSpPr>
            <p:cNvPr id="42" name="Rectangle 41">
              <a:extLst>
                <a:ext uri="{FF2B5EF4-FFF2-40B4-BE49-F238E27FC236}">
                  <a16:creationId xmlns:a16="http://schemas.microsoft.com/office/drawing/2014/main" id="{B259E51B-BB8C-4722-A6FB-186BF255678D}"/>
                </a:ext>
              </a:extLst>
            </p:cNvPr>
            <p:cNvSpPr/>
            <p:nvPr/>
          </p:nvSpPr>
          <p:spPr>
            <a:xfrm>
              <a:off x="5215890"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47" name="Rectangle 46">
              <a:extLst>
                <a:ext uri="{FF2B5EF4-FFF2-40B4-BE49-F238E27FC236}">
                  <a16:creationId xmlns:a16="http://schemas.microsoft.com/office/drawing/2014/main" id="{2D212AD0-4F24-422D-850F-05411CA5EDCE}"/>
                </a:ext>
              </a:extLst>
            </p:cNvPr>
            <p:cNvSpPr/>
            <p:nvPr/>
          </p:nvSpPr>
          <p:spPr>
            <a:xfrm>
              <a:off x="5416099" y="2419350"/>
              <a:ext cx="99060" cy="163830"/>
            </a:xfrm>
            <a:prstGeom prst="rect">
              <a:avLst/>
            </a:prstGeom>
            <a:solidFill>
              <a:srgbClr val="7FD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32" name="Freeform: Shape 31">
              <a:extLst>
                <a:ext uri="{FF2B5EF4-FFF2-40B4-BE49-F238E27FC236}">
                  <a16:creationId xmlns:a16="http://schemas.microsoft.com/office/drawing/2014/main" id="{EBD5726C-C896-4FA5-B169-489D5A8E14D2}"/>
                </a:ext>
              </a:extLst>
            </p:cNvPr>
            <p:cNvSpPr/>
            <p:nvPr/>
          </p:nvSpPr>
          <p:spPr>
            <a:xfrm>
              <a:off x="5179695" y="2266949"/>
              <a:ext cx="392430" cy="150495"/>
            </a:xfrm>
            <a:custGeom>
              <a:avLst/>
              <a:gdLst>
                <a:gd name="connsiteX0" fmla="*/ 0 w 413385"/>
                <a:gd name="connsiteY0" fmla="*/ 137160 h 152400"/>
                <a:gd name="connsiteX1" fmla="*/ 211455 w 413385"/>
                <a:gd name="connsiteY1" fmla="*/ 0 h 152400"/>
                <a:gd name="connsiteX2" fmla="*/ 413385 w 413385"/>
                <a:gd name="connsiteY2" fmla="*/ 125730 h 152400"/>
                <a:gd name="connsiteX3" fmla="*/ 409575 w 413385"/>
                <a:gd name="connsiteY3" fmla="*/ 150495 h 152400"/>
                <a:gd name="connsiteX4" fmla="*/ 83820 w 413385"/>
                <a:gd name="connsiteY4" fmla="*/ 152400 h 152400"/>
                <a:gd name="connsiteX5" fmla="*/ 0 w 413385"/>
                <a:gd name="connsiteY5" fmla="*/ 137160 h 152400"/>
                <a:gd name="connsiteX0" fmla="*/ 0 w 329565"/>
                <a:gd name="connsiteY0" fmla="*/ 152400 h 152400"/>
                <a:gd name="connsiteX1" fmla="*/ 127635 w 329565"/>
                <a:gd name="connsiteY1" fmla="*/ 0 h 152400"/>
                <a:gd name="connsiteX2" fmla="*/ 329565 w 329565"/>
                <a:gd name="connsiteY2" fmla="*/ 125730 h 152400"/>
                <a:gd name="connsiteX3" fmla="*/ 325755 w 329565"/>
                <a:gd name="connsiteY3" fmla="*/ 150495 h 152400"/>
                <a:gd name="connsiteX4" fmla="*/ 0 w 329565"/>
                <a:gd name="connsiteY4" fmla="*/ 152400 h 152400"/>
                <a:gd name="connsiteX0" fmla="*/ 0 w 392430"/>
                <a:gd name="connsiteY0" fmla="*/ 140970 h 150495"/>
                <a:gd name="connsiteX1" fmla="*/ 190500 w 392430"/>
                <a:gd name="connsiteY1" fmla="*/ 0 h 150495"/>
                <a:gd name="connsiteX2" fmla="*/ 392430 w 392430"/>
                <a:gd name="connsiteY2" fmla="*/ 125730 h 150495"/>
                <a:gd name="connsiteX3" fmla="*/ 388620 w 392430"/>
                <a:gd name="connsiteY3" fmla="*/ 150495 h 150495"/>
                <a:gd name="connsiteX4" fmla="*/ 0 w 392430"/>
                <a:gd name="connsiteY4" fmla="*/ 140970 h 15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30" h="150495">
                  <a:moveTo>
                    <a:pt x="0" y="140970"/>
                  </a:moveTo>
                  <a:lnTo>
                    <a:pt x="190500" y="0"/>
                  </a:lnTo>
                  <a:lnTo>
                    <a:pt x="392430" y="125730"/>
                  </a:lnTo>
                  <a:lnTo>
                    <a:pt x="388620" y="150495"/>
                  </a:lnTo>
                  <a:lnTo>
                    <a:pt x="0" y="14097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23" name="Freeform: Shape 22">
              <a:extLst>
                <a:ext uri="{FF2B5EF4-FFF2-40B4-BE49-F238E27FC236}">
                  <a16:creationId xmlns:a16="http://schemas.microsoft.com/office/drawing/2014/main" id="{3BF27CF0-4A13-4352-A8A7-2B67E845D1B7}"/>
                </a:ext>
              </a:extLst>
            </p:cNvPr>
            <p:cNvSpPr/>
            <p:nvPr/>
          </p:nvSpPr>
          <p:spPr>
            <a:xfrm>
              <a:off x="5130808" y="2253638"/>
              <a:ext cx="485500" cy="420766"/>
            </a:xfrm>
            <a:custGeom>
              <a:avLst/>
              <a:gdLst>
                <a:gd name="connsiteX0" fmla="*/ 427434 w 857250"/>
                <a:gd name="connsiteY0" fmla="*/ 37 h 742949"/>
                <a:gd name="connsiteX1" fmla="*/ 413444 w 857250"/>
                <a:gd name="connsiteY1" fmla="*/ 4203 h 742949"/>
                <a:gd name="connsiteX2" fmla="*/ 61019 w 857250"/>
                <a:gd name="connsiteY2" fmla="*/ 222969 h 742949"/>
                <a:gd name="connsiteX3" fmla="*/ 47625 w 857250"/>
                <a:gd name="connsiteY3" fmla="*/ 247375 h 742949"/>
                <a:gd name="connsiteX4" fmla="*/ 47625 w 857250"/>
                <a:gd name="connsiteY4" fmla="*/ 295296 h 742949"/>
                <a:gd name="connsiteX5" fmla="*/ 76200 w 857250"/>
                <a:gd name="connsiteY5" fmla="*/ 323870 h 742949"/>
                <a:gd name="connsiteX6" fmla="*/ 123825 w 857250"/>
                <a:gd name="connsiteY6" fmla="*/ 323870 h 742949"/>
                <a:gd name="connsiteX7" fmla="*/ 123825 w 857250"/>
                <a:gd name="connsiteY7" fmla="*/ 571506 h 742949"/>
                <a:gd name="connsiteX8" fmla="*/ 76200 w 857250"/>
                <a:gd name="connsiteY8" fmla="*/ 571506 h 742949"/>
                <a:gd name="connsiteX9" fmla="*/ 73224 w 857250"/>
                <a:gd name="connsiteY9" fmla="*/ 571506 h 742949"/>
                <a:gd name="connsiteX10" fmla="*/ 55959 w 857250"/>
                <a:gd name="connsiteY10" fmla="*/ 579840 h 742949"/>
                <a:gd name="connsiteX11" fmla="*/ 8334 w 857250"/>
                <a:gd name="connsiteY11" fmla="*/ 627462 h 742949"/>
                <a:gd name="connsiteX12" fmla="*/ 0 w 857250"/>
                <a:gd name="connsiteY12" fmla="*/ 647702 h 742949"/>
                <a:gd name="connsiteX13" fmla="*/ 0 w 857250"/>
                <a:gd name="connsiteY13" fmla="*/ 714374 h 742949"/>
                <a:gd name="connsiteX14" fmla="*/ 28575 w 857250"/>
                <a:gd name="connsiteY14" fmla="*/ 742947 h 742949"/>
                <a:gd name="connsiteX15" fmla="*/ 381000 w 857250"/>
                <a:gd name="connsiteY15" fmla="*/ 742947 h 742949"/>
                <a:gd name="connsiteX16" fmla="*/ 409979 w 857250"/>
                <a:gd name="connsiteY16" fmla="*/ 714778 h 742949"/>
                <a:gd name="connsiteX17" fmla="*/ 381809 w 857250"/>
                <a:gd name="connsiteY17" fmla="*/ 685800 h 742949"/>
                <a:gd name="connsiteX18" fmla="*/ 381000 w 857250"/>
                <a:gd name="connsiteY18" fmla="*/ 685800 h 742949"/>
                <a:gd name="connsiteX19" fmla="*/ 57150 w 857250"/>
                <a:gd name="connsiteY19" fmla="*/ 685800 h 742949"/>
                <a:gd name="connsiteX20" fmla="*/ 57150 w 857250"/>
                <a:gd name="connsiteY20" fmla="*/ 659608 h 742949"/>
                <a:gd name="connsiteX21" fmla="*/ 88106 w 857250"/>
                <a:gd name="connsiteY21" fmla="*/ 628653 h 742949"/>
                <a:gd name="connsiteX22" fmla="*/ 769144 w 857250"/>
                <a:gd name="connsiteY22" fmla="*/ 628653 h 742949"/>
                <a:gd name="connsiteX23" fmla="*/ 800100 w 857250"/>
                <a:gd name="connsiteY23" fmla="*/ 659608 h 742949"/>
                <a:gd name="connsiteX24" fmla="*/ 800100 w 857250"/>
                <a:gd name="connsiteY24" fmla="*/ 685800 h 742949"/>
                <a:gd name="connsiteX25" fmla="*/ 476250 w 857250"/>
                <a:gd name="connsiteY25" fmla="*/ 685800 h 742949"/>
                <a:gd name="connsiteX26" fmla="*/ 447271 w 857250"/>
                <a:gd name="connsiteY26" fmla="*/ 713969 h 742949"/>
                <a:gd name="connsiteX27" fmla="*/ 475441 w 857250"/>
                <a:gd name="connsiteY27" fmla="*/ 742947 h 742949"/>
                <a:gd name="connsiteX28" fmla="*/ 476250 w 857250"/>
                <a:gd name="connsiteY28" fmla="*/ 742947 h 742949"/>
                <a:gd name="connsiteX29" fmla="*/ 828675 w 857250"/>
                <a:gd name="connsiteY29" fmla="*/ 742947 h 742949"/>
                <a:gd name="connsiteX30" fmla="*/ 857250 w 857250"/>
                <a:gd name="connsiteY30" fmla="*/ 714374 h 742949"/>
                <a:gd name="connsiteX31" fmla="*/ 857250 w 857250"/>
                <a:gd name="connsiteY31" fmla="*/ 647702 h 742949"/>
                <a:gd name="connsiteX32" fmla="*/ 848916 w 857250"/>
                <a:gd name="connsiteY32" fmla="*/ 627462 h 742949"/>
                <a:gd name="connsiteX33" fmla="*/ 801291 w 857250"/>
                <a:gd name="connsiteY33" fmla="*/ 579840 h 742949"/>
                <a:gd name="connsiteX34" fmla="*/ 781050 w 857250"/>
                <a:gd name="connsiteY34" fmla="*/ 571506 h 742949"/>
                <a:gd name="connsiteX35" fmla="*/ 733425 w 857250"/>
                <a:gd name="connsiteY35" fmla="*/ 571506 h 742949"/>
                <a:gd name="connsiteX36" fmla="*/ 733425 w 857250"/>
                <a:gd name="connsiteY36" fmla="*/ 323870 h 742949"/>
                <a:gd name="connsiteX37" fmla="*/ 781050 w 857250"/>
                <a:gd name="connsiteY37" fmla="*/ 323870 h 742949"/>
                <a:gd name="connsiteX38" fmla="*/ 809625 w 857250"/>
                <a:gd name="connsiteY38" fmla="*/ 295296 h 742949"/>
                <a:gd name="connsiteX39" fmla="*/ 809625 w 857250"/>
                <a:gd name="connsiteY39" fmla="*/ 247375 h 742949"/>
                <a:gd name="connsiteX40" fmla="*/ 796231 w 857250"/>
                <a:gd name="connsiteY40" fmla="*/ 222969 h 742949"/>
                <a:gd name="connsiteX41" fmla="*/ 443806 w 857250"/>
                <a:gd name="connsiteY41" fmla="*/ 4203 h 742949"/>
                <a:gd name="connsiteX42" fmla="*/ 427434 w 857250"/>
                <a:gd name="connsiteY42" fmla="*/ 37 h 742949"/>
                <a:gd name="connsiteX43" fmla="*/ 428625 w 857250"/>
                <a:gd name="connsiteY43" fmla="*/ 62541 h 742949"/>
                <a:gd name="connsiteX44" fmla="*/ 752475 w 857250"/>
                <a:gd name="connsiteY44" fmla="*/ 263151 h 742949"/>
                <a:gd name="connsiteX45" fmla="*/ 752475 w 857250"/>
                <a:gd name="connsiteY45" fmla="*/ 266723 h 742949"/>
                <a:gd name="connsiteX46" fmla="*/ 104775 w 857250"/>
                <a:gd name="connsiteY46" fmla="*/ 266723 h 742949"/>
                <a:gd name="connsiteX47" fmla="*/ 104775 w 857250"/>
                <a:gd name="connsiteY47" fmla="*/ 263151 h 742949"/>
                <a:gd name="connsiteX48" fmla="*/ 428625 w 857250"/>
                <a:gd name="connsiteY48" fmla="*/ 62541 h 742949"/>
                <a:gd name="connsiteX49" fmla="*/ 180975 w 857250"/>
                <a:gd name="connsiteY49" fmla="*/ 323870 h 742949"/>
                <a:gd name="connsiteX50" fmla="*/ 304800 w 857250"/>
                <a:gd name="connsiteY50" fmla="*/ 323870 h 742949"/>
                <a:gd name="connsiteX51" fmla="*/ 304800 w 857250"/>
                <a:gd name="connsiteY51" fmla="*/ 571506 h 742949"/>
                <a:gd name="connsiteX52" fmla="*/ 180975 w 857250"/>
                <a:gd name="connsiteY52" fmla="*/ 571506 h 742949"/>
                <a:gd name="connsiteX53" fmla="*/ 180975 w 857250"/>
                <a:gd name="connsiteY53" fmla="*/ 323870 h 742949"/>
                <a:gd name="connsiteX54" fmla="*/ 361950 w 857250"/>
                <a:gd name="connsiteY54" fmla="*/ 323870 h 742949"/>
                <a:gd name="connsiteX55" fmla="*/ 495300 w 857250"/>
                <a:gd name="connsiteY55" fmla="*/ 323870 h 742949"/>
                <a:gd name="connsiteX56" fmla="*/ 495300 w 857250"/>
                <a:gd name="connsiteY56" fmla="*/ 571506 h 742949"/>
                <a:gd name="connsiteX57" fmla="*/ 361950 w 857250"/>
                <a:gd name="connsiteY57" fmla="*/ 571506 h 742949"/>
                <a:gd name="connsiteX58" fmla="*/ 361950 w 857250"/>
                <a:gd name="connsiteY58" fmla="*/ 323870 h 742949"/>
                <a:gd name="connsiteX59" fmla="*/ 552450 w 857250"/>
                <a:gd name="connsiteY59" fmla="*/ 323870 h 742949"/>
                <a:gd name="connsiteX60" fmla="*/ 676275 w 857250"/>
                <a:gd name="connsiteY60" fmla="*/ 323870 h 742949"/>
                <a:gd name="connsiteX61" fmla="*/ 676275 w 857250"/>
                <a:gd name="connsiteY61" fmla="*/ 571506 h 742949"/>
                <a:gd name="connsiteX62" fmla="*/ 552450 w 857250"/>
                <a:gd name="connsiteY62" fmla="*/ 571506 h 742949"/>
                <a:gd name="connsiteX63" fmla="*/ 552450 w 857250"/>
                <a:gd name="connsiteY63" fmla="*/ 323870 h 74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57250" h="742949">
                  <a:moveTo>
                    <a:pt x="427434" y="37"/>
                  </a:moveTo>
                  <a:cubicBezTo>
                    <a:pt x="422489" y="191"/>
                    <a:pt x="417669" y="1627"/>
                    <a:pt x="413444" y="4203"/>
                  </a:cubicBezTo>
                  <a:lnTo>
                    <a:pt x="61019" y="222969"/>
                  </a:lnTo>
                  <a:cubicBezTo>
                    <a:pt x="52626" y="228233"/>
                    <a:pt x="47557" y="237468"/>
                    <a:pt x="47625" y="247375"/>
                  </a:cubicBezTo>
                  <a:lnTo>
                    <a:pt x="47625" y="295296"/>
                  </a:lnTo>
                  <a:cubicBezTo>
                    <a:pt x="47627" y="311076"/>
                    <a:pt x="60419" y="323868"/>
                    <a:pt x="76200" y="323870"/>
                  </a:cubicBezTo>
                  <a:lnTo>
                    <a:pt x="123825" y="323870"/>
                  </a:lnTo>
                  <a:lnTo>
                    <a:pt x="123825" y="571506"/>
                  </a:lnTo>
                  <a:lnTo>
                    <a:pt x="76200" y="571506"/>
                  </a:lnTo>
                  <a:cubicBezTo>
                    <a:pt x="75209" y="571454"/>
                    <a:pt x="74215" y="571454"/>
                    <a:pt x="73224" y="571506"/>
                  </a:cubicBezTo>
                  <a:cubicBezTo>
                    <a:pt x="66681" y="572213"/>
                    <a:pt x="60583" y="575157"/>
                    <a:pt x="55959" y="579840"/>
                  </a:cubicBezTo>
                  <a:lnTo>
                    <a:pt x="8334" y="627462"/>
                  </a:lnTo>
                  <a:cubicBezTo>
                    <a:pt x="2980" y="632836"/>
                    <a:pt x="-18" y="640117"/>
                    <a:pt x="0" y="647702"/>
                  </a:cubicBezTo>
                  <a:lnTo>
                    <a:pt x="0" y="714374"/>
                  </a:lnTo>
                  <a:cubicBezTo>
                    <a:pt x="2" y="730154"/>
                    <a:pt x="12794" y="742945"/>
                    <a:pt x="28575" y="742947"/>
                  </a:cubicBezTo>
                  <a:lnTo>
                    <a:pt x="381000" y="742947"/>
                  </a:lnTo>
                  <a:cubicBezTo>
                    <a:pt x="396782" y="743170"/>
                    <a:pt x="409756" y="730559"/>
                    <a:pt x="409979" y="714778"/>
                  </a:cubicBezTo>
                  <a:cubicBezTo>
                    <a:pt x="410203" y="698997"/>
                    <a:pt x="397590" y="686024"/>
                    <a:pt x="381809" y="685800"/>
                  </a:cubicBezTo>
                  <a:cubicBezTo>
                    <a:pt x="381539" y="685796"/>
                    <a:pt x="381270" y="685796"/>
                    <a:pt x="381000" y="685800"/>
                  </a:cubicBezTo>
                  <a:lnTo>
                    <a:pt x="57150" y="685800"/>
                  </a:lnTo>
                  <a:lnTo>
                    <a:pt x="57150" y="659608"/>
                  </a:lnTo>
                  <a:lnTo>
                    <a:pt x="88106" y="628653"/>
                  </a:lnTo>
                  <a:lnTo>
                    <a:pt x="769144" y="628653"/>
                  </a:lnTo>
                  <a:lnTo>
                    <a:pt x="800100" y="659608"/>
                  </a:lnTo>
                  <a:lnTo>
                    <a:pt x="800100" y="685800"/>
                  </a:lnTo>
                  <a:lnTo>
                    <a:pt x="476250" y="685800"/>
                  </a:lnTo>
                  <a:cubicBezTo>
                    <a:pt x="460468" y="685577"/>
                    <a:pt x="447494" y="698189"/>
                    <a:pt x="447271" y="713969"/>
                  </a:cubicBezTo>
                  <a:cubicBezTo>
                    <a:pt x="447047" y="729750"/>
                    <a:pt x="459660" y="742724"/>
                    <a:pt x="475441" y="742947"/>
                  </a:cubicBezTo>
                  <a:cubicBezTo>
                    <a:pt x="475711" y="742951"/>
                    <a:pt x="475981" y="742951"/>
                    <a:pt x="476250" y="742947"/>
                  </a:cubicBezTo>
                  <a:lnTo>
                    <a:pt x="828675" y="742947"/>
                  </a:lnTo>
                  <a:cubicBezTo>
                    <a:pt x="844456" y="742945"/>
                    <a:pt x="857248" y="730154"/>
                    <a:pt x="857250" y="714374"/>
                  </a:cubicBezTo>
                  <a:lnTo>
                    <a:pt x="857250" y="647702"/>
                  </a:lnTo>
                  <a:cubicBezTo>
                    <a:pt x="857268" y="640117"/>
                    <a:pt x="854270" y="632836"/>
                    <a:pt x="848916" y="627462"/>
                  </a:cubicBezTo>
                  <a:lnTo>
                    <a:pt x="801291" y="579840"/>
                  </a:lnTo>
                  <a:cubicBezTo>
                    <a:pt x="795918" y="574486"/>
                    <a:pt x="788636" y="571487"/>
                    <a:pt x="781050" y="571506"/>
                  </a:cubicBezTo>
                  <a:lnTo>
                    <a:pt x="733425" y="571506"/>
                  </a:lnTo>
                  <a:lnTo>
                    <a:pt x="733425" y="323870"/>
                  </a:lnTo>
                  <a:lnTo>
                    <a:pt x="781050" y="323870"/>
                  </a:lnTo>
                  <a:cubicBezTo>
                    <a:pt x="796831" y="323868"/>
                    <a:pt x="809623" y="311076"/>
                    <a:pt x="809625" y="295296"/>
                  </a:cubicBezTo>
                  <a:lnTo>
                    <a:pt x="809625" y="247375"/>
                  </a:lnTo>
                  <a:cubicBezTo>
                    <a:pt x="809694" y="237468"/>
                    <a:pt x="804624" y="228233"/>
                    <a:pt x="796231" y="222969"/>
                  </a:cubicBezTo>
                  <a:lnTo>
                    <a:pt x="443806" y="4203"/>
                  </a:lnTo>
                  <a:cubicBezTo>
                    <a:pt x="438893" y="1197"/>
                    <a:pt x="433187" y="-256"/>
                    <a:pt x="427434" y="37"/>
                  </a:cubicBezTo>
                  <a:close/>
                  <a:moveTo>
                    <a:pt x="428625" y="62541"/>
                  </a:moveTo>
                  <a:lnTo>
                    <a:pt x="752475" y="263151"/>
                  </a:lnTo>
                  <a:lnTo>
                    <a:pt x="752475" y="266723"/>
                  </a:lnTo>
                  <a:lnTo>
                    <a:pt x="104775" y="266723"/>
                  </a:lnTo>
                  <a:lnTo>
                    <a:pt x="104775" y="263151"/>
                  </a:lnTo>
                  <a:lnTo>
                    <a:pt x="428625" y="62541"/>
                  </a:lnTo>
                  <a:close/>
                  <a:moveTo>
                    <a:pt x="180975" y="323870"/>
                  </a:moveTo>
                  <a:lnTo>
                    <a:pt x="304800" y="323870"/>
                  </a:lnTo>
                  <a:lnTo>
                    <a:pt x="304800" y="571506"/>
                  </a:lnTo>
                  <a:lnTo>
                    <a:pt x="180975" y="571506"/>
                  </a:lnTo>
                  <a:lnTo>
                    <a:pt x="180975" y="323870"/>
                  </a:lnTo>
                  <a:close/>
                  <a:moveTo>
                    <a:pt x="361950" y="323870"/>
                  </a:moveTo>
                  <a:lnTo>
                    <a:pt x="495300" y="323870"/>
                  </a:lnTo>
                  <a:lnTo>
                    <a:pt x="495300" y="571506"/>
                  </a:lnTo>
                  <a:lnTo>
                    <a:pt x="361950" y="571506"/>
                  </a:lnTo>
                  <a:lnTo>
                    <a:pt x="361950" y="323870"/>
                  </a:lnTo>
                  <a:close/>
                  <a:moveTo>
                    <a:pt x="552450" y="323870"/>
                  </a:moveTo>
                  <a:lnTo>
                    <a:pt x="676275" y="323870"/>
                  </a:lnTo>
                  <a:lnTo>
                    <a:pt x="676275" y="571506"/>
                  </a:lnTo>
                  <a:lnTo>
                    <a:pt x="552450" y="571506"/>
                  </a:lnTo>
                  <a:lnTo>
                    <a:pt x="552450" y="323870"/>
                  </a:lnTo>
                  <a:close/>
                </a:path>
              </a:pathLst>
            </a:custGeom>
            <a:solidFill>
              <a:schemeClr val="tx1"/>
            </a:solidFill>
            <a:ln w="9525" cap="flat">
              <a:noFill/>
              <a:prstDash val="solid"/>
              <a:miter/>
            </a:ln>
          </p:spPr>
          <p:txBody>
            <a:bodyPr rtlCol="0" anchor="ctr"/>
            <a:lstStyle/>
            <a:p>
              <a:pPr algn="r" rtl="1"/>
              <a:endParaRPr lang="en-US"/>
            </a:p>
          </p:txBody>
        </p:sp>
      </p:grpSp>
      <p:grpSp>
        <p:nvGrpSpPr>
          <p:cNvPr id="52" name="Group 51">
            <a:extLst>
              <a:ext uri="{FF2B5EF4-FFF2-40B4-BE49-F238E27FC236}">
                <a16:creationId xmlns:a16="http://schemas.microsoft.com/office/drawing/2014/main" id="{ABEFDFCD-B19E-4E38-ABB3-4D057AFA1E50}"/>
              </a:ext>
            </a:extLst>
          </p:cNvPr>
          <p:cNvGrpSpPr/>
          <p:nvPr/>
        </p:nvGrpSpPr>
        <p:grpSpPr>
          <a:xfrm>
            <a:off x="4351853" y="2263140"/>
            <a:ext cx="611069" cy="448749"/>
            <a:chOff x="5032462" y="2377440"/>
            <a:chExt cx="611069" cy="448749"/>
          </a:xfrm>
        </p:grpSpPr>
        <p:sp>
          <p:nvSpPr>
            <p:cNvPr id="51" name="Freeform: Shape 50">
              <a:extLst>
                <a:ext uri="{FF2B5EF4-FFF2-40B4-BE49-F238E27FC236}">
                  <a16:creationId xmlns:a16="http://schemas.microsoft.com/office/drawing/2014/main" id="{91560649-D07D-4DDD-B91A-5AE0452DA0C2}"/>
                </a:ext>
              </a:extLst>
            </p:cNvPr>
            <p:cNvSpPr/>
            <p:nvPr/>
          </p:nvSpPr>
          <p:spPr>
            <a:xfrm>
              <a:off x="5064760" y="2377440"/>
              <a:ext cx="553720" cy="294640"/>
            </a:xfrm>
            <a:custGeom>
              <a:avLst/>
              <a:gdLst>
                <a:gd name="connsiteX0" fmla="*/ 269240 w 553720"/>
                <a:gd name="connsiteY0" fmla="*/ 0 h 294640"/>
                <a:gd name="connsiteX1" fmla="*/ 553720 w 553720"/>
                <a:gd name="connsiteY1" fmla="*/ 157480 h 294640"/>
                <a:gd name="connsiteX2" fmla="*/ 289560 w 553720"/>
                <a:gd name="connsiteY2" fmla="*/ 294640 h 294640"/>
                <a:gd name="connsiteX3" fmla="*/ 0 w 553720"/>
                <a:gd name="connsiteY3" fmla="*/ 162560 h 294640"/>
                <a:gd name="connsiteX4" fmla="*/ 269240 w 553720"/>
                <a:gd name="connsiteY4" fmla="*/ 0 h 29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720" h="294640">
                  <a:moveTo>
                    <a:pt x="269240" y="0"/>
                  </a:moveTo>
                  <a:lnTo>
                    <a:pt x="553720" y="157480"/>
                  </a:lnTo>
                  <a:lnTo>
                    <a:pt x="289560" y="294640"/>
                  </a:lnTo>
                  <a:lnTo>
                    <a:pt x="0" y="162560"/>
                  </a:lnTo>
                  <a:lnTo>
                    <a:pt x="269240" y="0"/>
                  </a:lnTo>
                  <a:close/>
                </a:path>
              </a:pathLst>
            </a:custGeom>
            <a:solidFill>
              <a:srgbClr val="7FD6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48" name="Freeform: Shape 47">
              <a:extLst>
                <a:ext uri="{FF2B5EF4-FFF2-40B4-BE49-F238E27FC236}">
                  <a16:creationId xmlns:a16="http://schemas.microsoft.com/office/drawing/2014/main" id="{BAF085B1-CB85-4355-8482-59D4F2D2F085}"/>
                </a:ext>
              </a:extLst>
            </p:cNvPr>
            <p:cNvSpPr/>
            <p:nvPr/>
          </p:nvSpPr>
          <p:spPr>
            <a:xfrm>
              <a:off x="5032462" y="2380630"/>
              <a:ext cx="611069" cy="445559"/>
            </a:xfrm>
            <a:custGeom>
              <a:avLst/>
              <a:gdLst>
                <a:gd name="connsiteX0" fmla="*/ 692316 w 849507"/>
                <a:gd name="connsiteY0" fmla="*/ 259857 h 619415"/>
                <a:gd name="connsiteX1" fmla="*/ 444066 w 849507"/>
                <a:gd name="connsiteY1" fmla="*/ 136146 h 619415"/>
                <a:gd name="connsiteX2" fmla="*/ 414748 w 849507"/>
                <a:gd name="connsiteY2" fmla="*/ 145957 h 619415"/>
                <a:gd name="connsiteX3" fmla="*/ 424559 w 849507"/>
                <a:gd name="connsiteY3" fmla="*/ 175284 h 619415"/>
                <a:gd name="connsiteX4" fmla="*/ 643158 w 849507"/>
                <a:gd name="connsiteY4" fmla="*/ 284212 h 619415"/>
                <a:gd name="connsiteX5" fmla="*/ 419863 w 849507"/>
                <a:gd name="connsiteY5" fmla="*/ 394854 h 619415"/>
                <a:gd name="connsiteX6" fmla="*/ 198559 w 849507"/>
                <a:gd name="connsiteY6" fmla="*/ 282431 h 619415"/>
                <a:gd name="connsiteX7" fmla="*/ 187472 w 849507"/>
                <a:gd name="connsiteY7" fmla="*/ 276802 h 619415"/>
                <a:gd name="connsiteX8" fmla="*/ 70762 w 849507"/>
                <a:gd name="connsiteY8" fmla="*/ 217518 h 619415"/>
                <a:gd name="connsiteX9" fmla="*/ 419863 w 849507"/>
                <a:gd name="connsiteY9" fmla="*/ 46154 h 619415"/>
                <a:gd name="connsiteX10" fmla="*/ 777765 w 849507"/>
                <a:gd name="connsiteY10" fmla="*/ 217518 h 619415"/>
                <a:gd name="connsiteX11" fmla="*/ 692316 w 849507"/>
                <a:gd name="connsiteY11" fmla="*/ 259857 h 619415"/>
                <a:gd name="connsiteX12" fmla="*/ 611868 w 849507"/>
                <a:gd name="connsiteY12" fmla="*/ 514336 h 619415"/>
                <a:gd name="connsiteX13" fmla="*/ 204865 w 849507"/>
                <a:gd name="connsiteY13" fmla="*/ 490438 h 619415"/>
                <a:gd name="connsiteX14" fmla="*/ 204865 w 849507"/>
                <a:gd name="connsiteY14" fmla="*/ 334666 h 619415"/>
                <a:gd name="connsiteX15" fmla="*/ 409843 w 849507"/>
                <a:gd name="connsiteY15" fmla="*/ 438793 h 619415"/>
                <a:gd name="connsiteX16" fmla="*/ 419739 w 849507"/>
                <a:gd name="connsiteY16" fmla="*/ 441156 h 619415"/>
                <a:gd name="connsiteX17" fmla="*/ 429455 w 849507"/>
                <a:gd name="connsiteY17" fmla="*/ 438898 h 619415"/>
                <a:gd name="connsiteX18" fmla="*/ 611868 w 849507"/>
                <a:gd name="connsiteY18" fmla="*/ 348506 h 619415"/>
                <a:gd name="connsiteX19" fmla="*/ 611868 w 849507"/>
                <a:gd name="connsiteY19" fmla="*/ 514336 h 619415"/>
                <a:gd name="connsiteX20" fmla="*/ 837087 w 849507"/>
                <a:gd name="connsiteY20" fmla="*/ 197458 h 619415"/>
                <a:gd name="connsiteX21" fmla="*/ 429169 w 849507"/>
                <a:gd name="connsiteY21" fmla="*/ 2148 h 619415"/>
                <a:gd name="connsiteX22" fmla="*/ 410119 w 849507"/>
                <a:gd name="connsiteY22" fmla="*/ 2253 h 619415"/>
                <a:gd name="connsiteX23" fmla="*/ 12231 w 849507"/>
                <a:gd name="connsiteY23" fmla="*/ 197563 h 619415"/>
                <a:gd name="connsiteX24" fmla="*/ 1 w 849507"/>
                <a:gd name="connsiteY24" fmla="*/ 217023 h 619415"/>
                <a:gd name="connsiteX25" fmla="*/ 11945 w 849507"/>
                <a:gd name="connsiteY25" fmla="*/ 236654 h 619415"/>
                <a:gd name="connsiteX26" fmla="*/ 161164 w 849507"/>
                <a:gd name="connsiteY26" fmla="*/ 312463 h 619415"/>
                <a:gd name="connsiteX27" fmla="*/ 161164 w 849507"/>
                <a:gd name="connsiteY27" fmla="*/ 499887 h 619415"/>
                <a:gd name="connsiteX28" fmla="*/ 167498 w 849507"/>
                <a:gd name="connsiteY28" fmla="*/ 515298 h 619415"/>
                <a:gd name="connsiteX29" fmla="*/ 425140 w 849507"/>
                <a:gd name="connsiteY29" fmla="*/ 619416 h 619415"/>
                <a:gd name="connsiteX30" fmla="*/ 646310 w 849507"/>
                <a:gd name="connsiteY30" fmla="*/ 543702 h 619415"/>
                <a:gd name="connsiteX31" fmla="*/ 655569 w 849507"/>
                <a:gd name="connsiteY31" fmla="*/ 525842 h 619415"/>
                <a:gd name="connsiteX32" fmla="*/ 655569 w 849507"/>
                <a:gd name="connsiteY32" fmla="*/ 326846 h 619415"/>
                <a:gd name="connsiteX33" fmla="*/ 681048 w 849507"/>
                <a:gd name="connsiteY33" fmla="*/ 314225 h 619415"/>
                <a:gd name="connsiteX34" fmla="*/ 681048 w 849507"/>
                <a:gd name="connsiteY34" fmla="*/ 471207 h 619415"/>
                <a:gd name="connsiteX35" fmla="*/ 702908 w 849507"/>
                <a:gd name="connsiteY35" fmla="*/ 493057 h 619415"/>
                <a:gd name="connsiteX36" fmla="*/ 724758 w 849507"/>
                <a:gd name="connsiteY36" fmla="*/ 471207 h 619415"/>
                <a:gd name="connsiteX37" fmla="*/ 724758 w 849507"/>
                <a:gd name="connsiteY37" fmla="*/ 292566 h 619415"/>
                <a:gd name="connsiteX38" fmla="*/ 837372 w 849507"/>
                <a:gd name="connsiteY38" fmla="*/ 236768 h 619415"/>
                <a:gd name="connsiteX39" fmla="*/ 849507 w 849507"/>
                <a:gd name="connsiteY39" fmla="*/ 217023 h 619415"/>
                <a:gd name="connsiteX40" fmla="*/ 837087 w 849507"/>
                <a:gd name="connsiteY40" fmla="*/ 197458 h 619415"/>
                <a:gd name="connsiteX41" fmla="*/ 837087 w 849507"/>
                <a:gd name="connsiteY41" fmla="*/ 197458 h 6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49507" h="619415">
                  <a:moveTo>
                    <a:pt x="692316" y="259857"/>
                  </a:moveTo>
                  <a:lnTo>
                    <a:pt x="444066" y="136146"/>
                  </a:lnTo>
                  <a:cubicBezTo>
                    <a:pt x="433227" y="130783"/>
                    <a:pt x="420168" y="135203"/>
                    <a:pt x="414748" y="145957"/>
                  </a:cubicBezTo>
                  <a:cubicBezTo>
                    <a:pt x="409366" y="156758"/>
                    <a:pt x="413767" y="169884"/>
                    <a:pt x="424559" y="175284"/>
                  </a:cubicBezTo>
                  <a:lnTo>
                    <a:pt x="643158" y="284212"/>
                  </a:lnTo>
                  <a:lnTo>
                    <a:pt x="419863" y="394854"/>
                  </a:lnTo>
                  <a:lnTo>
                    <a:pt x="198559" y="282431"/>
                  </a:lnTo>
                  <a:cubicBezTo>
                    <a:pt x="195625" y="279450"/>
                    <a:pt x="191711" y="277707"/>
                    <a:pt x="187472" y="276802"/>
                  </a:cubicBezTo>
                  <a:lnTo>
                    <a:pt x="70762" y="217518"/>
                  </a:lnTo>
                  <a:lnTo>
                    <a:pt x="419863" y="46154"/>
                  </a:lnTo>
                  <a:lnTo>
                    <a:pt x="777765" y="217518"/>
                  </a:lnTo>
                  <a:lnTo>
                    <a:pt x="692316" y="259857"/>
                  </a:lnTo>
                  <a:close/>
                  <a:moveTo>
                    <a:pt x="611868" y="514336"/>
                  </a:moveTo>
                  <a:cubicBezTo>
                    <a:pt x="405852" y="652325"/>
                    <a:pt x="239479" y="521442"/>
                    <a:pt x="204865" y="490438"/>
                  </a:cubicBezTo>
                  <a:lnTo>
                    <a:pt x="204865" y="334666"/>
                  </a:lnTo>
                  <a:lnTo>
                    <a:pt x="409843" y="438793"/>
                  </a:lnTo>
                  <a:cubicBezTo>
                    <a:pt x="412957" y="440374"/>
                    <a:pt x="416348" y="441156"/>
                    <a:pt x="419739" y="441156"/>
                  </a:cubicBezTo>
                  <a:cubicBezTo>
                    <a:pt x="423073" y="441156"/>
                    <a:pt x="426378" y="440413"/>
                    <a:pt x="429455" y="438898"/>
                  </a:cubicBezTo>
                  <a:lnTo>
                    <a:pt x="611868" y="348506"/>
                  </a:lnTo>
                  <a:lnTo>
                    <a:pt x="611868" y="514336"/>
                  </a:lnTo>
                  <a:close/>
                  <a:moveTo>
                    <a:pt x="837087" y="197458"/>
                  </a:moveTo>
                  <a:lnTo>
                    <a:pt x="429169" y="2148"/>
                  </a:lnTo>
                  <a:cubicBezTo>
                    <a:pt x="423130" y="-757"/>
                    <a:pt x="416110" y="-709"/>
                    <a:pt x="410119" y="2253"/>
                  </a:cubicBezTo>
                  <a:lnTo>
                    <a:pt x="12231" y="197563"/>
                  </a:lnTo>
                  <a:cubicBezTo>
                    <a:pt x="4782" y="201211"/>
                    <a:pt x="67" y="208746"/>
                    <a:pt x="1" y="217023"/>
                  </a:cubicBezTo>
                  <a:cubicBezTo>
                    <a:pt x="-66" y="225300"/>
                    <a:pt x="4563" y="232901"/>
                    <a:pt x="11945" y="236654"/>
                  </a:cubicBezTo>
                  <a:lnTo>
                    <a:pt x="161164" y="312463"/>
                  </a:lnTo>
                  <a:lnTo>
                    <a:pt x="161164" y="499887"/>
                  </a:lnTo>
                  <a:cubicBezTo>
                    <a:pt x="161164" y="505649"/>
                    <a:pt x="163440" y="511202"/>
                    <a:pt x="167498" y="515298"/>
                  </a:cubicBezTo>
                  <a:cubicBezTo>
                    <a:pt x="168994" y="516794"/>
                    <a:pt x="273435" y="619435"/>
                    <a:pt x="425140" y="619416"/>
                  </a:cubicBezTo>
                  <a:cubicBezTo>
                    <a:pt x="491377" y="619416"/>
                    <a:pt x="566672" y="599823"/>
                    <a:pt x="646310" y="543702"/>
                  </a:cubicBezTo>
                  <a:cubicBezTo>
                    <a:pt x="652111" y="539606"/>
                    <a:pt x="655569" y="532948"/>
                    <a:pt x="655569" y="525842"/>
                  </a:cubicBezTo>
                  <a:lnTo>
                    <a:pt x="655569" y="326846"/>
                  </a:lnTo>
                  <a:lnTo>
                    <a:pt x="681048" y="314225"/>
                  </a:lnTo>
                  <a:lnTo>
                    <a:pt x="681048" y="471207"/>
                  </a:lnTo>
                  <a:cubicBezTo>
                    <a:pt x="681048" y="483285"/>
                    <a:pt x="690821" y="493057"/>
                    <a:pt x="702908" y="493057"/>
                  </a:cubicBezTo>
                  <a:cubicBezTo>
                    <a:pt x="714986" y="493057"/>
                    <a:pt x="724758" y="483285"/>
                    <a:pt x="724758" y="471207"/>
                  </a:cubicBezTo>
                  <a:lnTo>
                    <a:pt x="724758" y="292566"/>
                  </a:lnTo>
                  <a:lnTo>
                    <a:pt x="837372" y="236768"/>
                  </a:lnTo>
                  <a:cubicBezTo>
                    <a:pt x="844859" y="233053"/>
                    <a:pt x="849574" y="225386"/>
                    <a:pt x="849507" y="217023"/>
                  </a:cubicBezTo>
                  <a:cubicBezTo>
                    <a:pt x="849450" y="208660"/>
                    <a:pt x="844621" y="201087"/>
                    <a:pt x="837087" y="197458"/>
                  </a:cubicBezTo>
                  <a:lnTo>
                    <a:pt x="837087" y="197458"/>
                  </a:lnTo>
                  <a:close/>
                </a:path>
              </a:pathLst>
            </a:custGeom>
            <a:solidFill>
              <a:schemeClr val="tx2"/>
            </a:solidFill>
            <a:ln w="9525" cap="flat">
              <a:noFill/>
              <a:prstDash val="solid"/>
              <a:miter/>
            </a:ln>
          </p:spPr>
          <p:txBody>
            <a:bodyPr rtlCol="0" anchor="ctr"/>
            <a:lstStyle/>
            <a:p>
              <a:pPr algn="r" rtl="1"/>
              <a:endParaRPr lang="en-US"/>
            </a:p>
          </p:txBody>
        </p:sp>
      </p:grpSp>
      <p:pic>
        <p:nvPicPr>
          <p:cNvPr id="46" name="Picture 2" descr="AURIN. Australian Urban Research Infrastructure Network">
            <a:extLst>
              <a:ext uri="{FF2B5EF4-FFF2-40B4-BE49-F238E27FC236}">
                <a16:creationId xmlns:a16="http://schemas.microsoft.com/office/drawing/2014/main" id="{CB3E1760-9DD4-4B55-A9F3-1054317F6E15}"/>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ABB88249-9C53-455D-8A3A-BE7F751E241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3227577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D1F31A-D1DC-46FA-8928-66A9FDEF96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9" name="think-cell Slide" r:id="rId5" imgW="308" imgH="309" progId="TCLayout.ActiveDocument.1">
                  <p:embed/>
                </p:oleObj>
              </mc:Choice>
              <mc:Fallback>
                <p:oleObj name="think-cell Slide" r:id="rId5" imgW="308" imgH="309" progId="TCLayout.ActiveDocument.1">
                  <p:embed/>
                  <p:pic>
                    <p:nvPicPr>
                      <p:cNvPr id="3" name="Object 2" hidden="1">
                        <a:extLst>
                          <a:ext uri="{FF2B5EF4-FFF2-40B4-BE49-F238E27FC236}">
                            <a16:creationId xmlns:a16="http://schemas.microsoft.com/office/drawing/2014/main" id="{0BD1F31A-D1DC-46FA-8928-66A9FDEF96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Slide Number Placeholder 4">
            <a:extLst>
              <a:ext uri="{FF2B5EF4-FFF2-40B4-BE49-F238E27FC236}">
                <a16:creationId xmlns:a16="http://schemas.microsoft.com/office/drawing/2014/main" id="{40DD809F-A8C0-4B31-ACCC-D624143B4BC7}"/>
              </a:ext>
            </a:extLst>
          </p:cNvPr>
          <p:cNvSpPr>
            <a:spLocks noGrp="1"/>
          </p:cNvSpPr>
          <p:nvPr>
            <p:ph type="sldNum" sz="quarter" idx="12"/>
          </p:nvPr>
        </p:nvSpPr>
        <p:spPr/>
        <p:txBody>
          <a:bodyPr/>
          <a:lstStyle/>
          <a:p>
            <a:pPr lvl="0"/>
            <a:fld id="{9FDB499F-DC86-4996-A3C7-FCE8E06389C2}" type="slidenum">
              <a:rPr lang="ar-SA" noProof="0" smtClean="0"/>
              <a:pPr lvl="0"/>
              <a:t>22</a:t>
            </a:fld>
            <a:endParaRPr lang="ar-SA" noProof="0"/>
          </a:p>
        </p:txBody>
      </p:sp>
      <p:sp>
        <p:nvSpPr>
          <p:cNvPr id="2" name="Title 1">
            <a:extLst>
              <a:ext uri="{FF2B5EF4-FFF2-40B4-BE49-F238E27FC236}">
                <a16:creationId xmlns:a16="http://schemas.microsoft.com/office/drawing/2014/main" id="{0AA1744A-8DF6-4ED9-AEC2-CF9CB6F1AC3A}"/>
              </a:ext>
            </a:extLst>
          </p:cNvPr>
          <p:cNvSpPr>
            <a:spLocks noGrp="1"/>
          </p:cNvSpPr>
          <p:nvPr>
            <p:ph type="title"/>
          </p:nvPr>
        </p:nvSpPr>
        <p:spPr/>
        <p:txBody>
          <a:bodyPr vert="horz"/>
          <a:lstStyle/>
          <a:p>
            <a:r>
              <a:rPr lang="ar-SA"/>
              <a:t>الدروس المستفادة</a:t>
            </a:r>
          </a:p>
        </p:txBody>
      </p:sp>
      <p:sp>
        <p:nvSpPr>
          <p:cNvPr id="10" name="Rectangle 9">
            <a:extLst>
              <a:ext uri="{FF2B5EF4-FFF2-40B4-BE49-F238E27FC236}">
                <a16:creationId xmlns:a16="http://schemas.microsoft.com/office/drawing/2014/main" id="{54409992-8749-4DB8-98B4-AFBB9FBF4A56}"/>
              </a:ext>
            </a:extLst>
          </p:cNvPr>
          <p:cNvSpPr/>
          <p:nvPr/>
        </p:nvSpPr>
        <p:spPr>
          <a:xfrm flipH="1">
            <a:off x="647699" y="1788726"/>
            <a:ext cx="10875065"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548640" rIns="548640" rtlCol="0" anchor="ctr"/>
          <a:lstStyle/>
          <a:p>
            <a:pPr algn="r" rtl="1">
              <a:defRPr/>
            </a:pPr>
            <a:r>
              <a:rPr lang="ar-SA" sz="1200" dirty="0">
                <a:solidFill>
                  <a:schemeClr val="tx1"/>
                </a:solidFill>
                <a:latin typeface="DIN Next LT Arabic (Body)"/>
                <a:sym typeface="Effra" panose="02000506080000020004" pitchFamily="2" charset="0"/>
              </a:rPr>
              <a:t>«الشبكة الأسترالية للبنية التحتية للأبحاث الحضرية» هي بيئة افتراضية قائمة على الويب (بنية تحتية إلكترونية) وتوفر وصولاً آمناً إلى مجموعات بيانات متنوعة وموزعة وغير متجانسة، وقد أتاحت الشبكة مجموعة واسعة من الأدوات التي تستفيد من البنى التحتية السحابية الكبرى. واستفادت جميع هذه الأدوات من نهج مشترك قائم على سير العمل ويسمح بالربط البيني والدعم بطريقة سلسة، وقد أصبحت هذه الأدوات جزءاً لا يتجزأ من تصميم الشبكة وعملياتها في النشر</a:t>
            </a:r>
          </a:p>
        </p:txBody>
      </p:sp>
      <p:sp>
        <p:nvSpPr>
          <p:cNvPr id="11" name="Freeform: Shape 10">
            <a:extLst>
              <a:ext uri="{FF2B5EF4-FFF2-40B4-BE49-F238E27FC236}">
                <a16:creationId xmlns:a16="http://schemas.microsoft.com/office/drawing/2014/main" id="{19923901-1275-4190-9202-B61EBE15A8FE}"/>
              </a:ext>
            </a:extLst>
          </p:cNvPr>
          <p:cNvSpPr/>
          <p:nvPr/>
        </p:nvSpPr>
        <p:spPr>
          <a:xfrm>
            <a:off x="11137270" y="2129956"/>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Ins="548640"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12" name="Rectangle 11">
            <a:extLst>
              <a:ext uri="{FF2B5EF4-FFF2-40B4-BE49-F238E27FC236}">
                <a16:creationId xmlns:a16="http://schemas.microsoft.com/office/drawing/2014/main" id="{9CC26BAE-EB2D-4A4A-909F-F6C9135C123A}"/>
              </a:ext>
            </a:extLst>
          </p:cNvPr>
          <p:cNvSpPr/>
          <p:nvPr/>
        </p:nvSpPr>
        <p:spPr>
          <a:xfrm flipH="1">
            <a:off x="647699" y="2885564"/>
            <a:ext cx="10875065"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5486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a:solidFill>
                  <a:schemeClr val="tx1"/>
                </a:solidFill>
                <a:latin typeface="DIN Next LT Arabic (Body)"/>
                <a:sym typeface="Effra" panose="02000506080000020004" pitchFamily="2" charset="0"/>
              </a:rPr>
              <a:t>تتكون البنية التحتية للشبكة من ثلاث أدوات أساسية لدعم الأبحاث الكمية في المجال الحضري: (1) بوابة الشبكة وهي بوابة إلكترونية للوصول إلى البيانات والأدوات التحليلية، (2) بوابة خريطة الشبكة وهي عبارة عن خرائط معدة لتصوير بيانات المخرجات البحثية، (3) واجهة برمجة التطبيقات المفتوحة الخاصة بالشبكة وهي عبارة عن واجهة برمجة تطبيقات للوصول المباشر إلى البيانات بترخيص مفتوح</a:t>
            </a:r>
          </a:p>
        </p:txBody>
      </p:sp>
      <p:sp>
        <p:nvSpPr>
          <p:cNvPr id="13" name="Freeform: Shape 12">
            <a:extLst>
              <a:ext uri="{FF2B5EF4-FFF2-40B4-BE49-F238E27FC236}">
                <a16:creationId xmlns:a16="http://schemas.microsoft.com/office/drawing/2014/main" id="{5C6771B6-5335-4403-BAAA-560A4BBC2411}"/>
              </a:ext>
            </a:extLst>
          </p:cNvPr>
          <p:cNvSpPr/>
          <p:nvPr/>
        </p:nvSpPr>
        <p:spPr>
          <a:xfrm>
            <a:off x="11137270" y="3226794"/>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Ins="548640"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14" name="Rectangle 13">
            <a:extLst>
              <a:ext uri="{FF2B5EF4-FFF2-40B4-BE49-F238E27FC236}">
                <a16:creationId xmlns:a16="http://schemas.microsoft.com/office/drawing/2014/main" id="{5A6A3C05-032B-4E7E-80BB-56F01AA87AB7}"/>
              </a:ext>
            </a:extLst>
          </p:cNvPr>
          <p:cNvSpPr/>
          <p:nvPr/>
        </p:nvSpPr>
        <p:spPr>
          <a:xfrm flipH="1">
            <a:off x="647699" y="3982402"/>
            <a:ext cx="10875065"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5486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a:solidFill>
                  <a:schemeClr val="tx1"/>
                </a:solidFill>
                <a:latin typeface="DIN Next LT Arabic (Body)"/>
                <a:sym typeface="Effra" panose="02000506080000020004" pitchFamily="2" charset="0"/>
              </a:rPr>
              <a:t>تلقت الشبكة الدعم من الأنشطة الرامية للاستثمار في البنية التحتية الإلكترونية في جميع أنحاء أستراليا مثل مبادرة «البنية التحتية لتخزين البيانات البحثية» (</a:t>
            </a:r>
            <a:r>
              <a:rPr lang="en-US" sz="1200">
                <a:solidFill>
                  <a:schemeClr val="tx1"/>
                </a:solidFill>
                <a:latin typeface="DIN Next LT Arabic (Body)"/>
                <a:sym typeface="Effra" panose="02000506080000020004" pitchFamily="2" charset="0"/>
              </a:rPr>
              <a:t>RDSI</a:t>
            </a:r>
            <a:r>
              <a:rPr lang="ar-EG" sz="1200">
                <a:solidFill>
                  <a:schemeClr val="tx1"/>
                </a:solidFill>
                <a:latin typeface="DIN Next LT Arabic (Body)"/>
                <a:sym typeface="Effra" panose="02000506080000020004" pitchFamily="2" charset="0"/>
              </a:rPr>
              <a:t>)</a:t>
            </a:r>
            <a:r>
              <a:rPr lang="ar-SA" sz="1200">
                <a:solidFill>
                  <a:schemeClr val="tx1"/>
                </a:solidFill>
                <a:latin typeface="DIN Next LT Arabic (Body)"/>
                <a:sym typeface="Effra" panose="02000506080000020004" pitchFamily="2" charset="0"/>
              </a:rPr>
              <a:t>، ومبادرة «الموارد المشتركة لبيانات الأبحاث الأسترالية» (</a:t>
            </a:r>
            <a:r>
              <a:rPr lang="en-US" sz="1200">
                <a:solidFill>
                  <a:schemeClr val="tx1"/>
                </a:solidFill>
                <a:latin typeface="DIN Next LT Arabic (Body)"/>
                <a:sym typeface="Effra" panose="02000506080000020004" pitchFamily="2" charset="0"/>
              </a:rPr>
              <a:t>NeCTAR</a:t>
            </a:r>
            <a:r>
              <a:rPr lang="ar-SA" sz="1200">
                <a:solidFill>
                  <a:schemeClr val="tx1"/>
                </a:solidFill>
                <a:latin typeface="DIN Next LT Arabic (Body)"/>
                <a:sym typeface="Effra" panose="02000506080000020004" pitchFamily="2" charset="0"/>
              </a:rPr>
              <a:t>) و«اتحاد </a:t>
            </a:r>
            <a:r>
              <a:rPr lang="ar-EG" sz="1200">
                <a:solidFill>
                  <a:schemeClr val="tx1"/>
                </a:solidFill>
                <a:latin typeface="DIN Next LT Arabic (Body)"/>
                <a:sym typeface="Effra" panose="02000506080000020004" pitchFamily="2" charset="0"/>
              </a:rPr>
              <a:t>الوصول </a:t>
            </a:r>
            <a:r>
              <a:rPr lang="ar-SA" sz="1200">
                <a:solidFill>
                  <a:schemeClr val="tx1"/>
                </a:solidFill>
                <a:latin typeface="DIN Next LT Arabic (Body)"/>
                <a:sym typeface="Effra" panose="02000506080000020004" pitchFamily="2" charset="0"/>
              </a:rPr>
              <a:t>الأسترالي»</a:t>
            </a:r>
            <a:r>
              <a:rPr lang="ar-EG" sz="1200">
                <a:solidFill>
                  <a:schemeClr val="tx1"/>
                </a:solidFill>
                <a:latin typeface="DIN Next LT Arabic (Body)"/>
                <a:sym typeface="Effra" panose="02000506080000020004" pitchFamily="2" charset="0"/>
              </a:rPr>
              <a:t> (</a:t>
            </a:r>
            <a:r>
              <a:rPr lang="en-US" sz="1200">
                <a:solidFill>
                  <a:schemeClr val="tx1"/>
                </a:solidFill>
                <a:latin typeface="DIN Next LT Arabic (Body)"/>
                <a:sym typeface="Effra" panose="02000506080000020004" pitchFamily="2" charset="0"/>
              </a:rPr>
              <a:t>AAF</a:t>
            </a:r>
            <a:r>
              <a:rPr lang="ar-EG" sz="1200">
                <a:solidFill>
                  <a:schemeClr val="tx1"/>
                </a:solidFill>
                <a:latin typeface="DIN Next LT Arabic (Body)"/>
                <a:sym typeface="Effra" panose="02000506080000020004" pitchFamily="2" charset="0"/>
              </a:rPr>
              <a:t>)</a:t>
            </a:r>
            <a:r>
              <a:rPr lang="ar-SA" sz="1200">
                <a:solidFill>
                  <a:schemeClr val="tx1"/>
                </a:solidFill>
                <a:latin typeface="DIN Next LT Arabic (Body)"/>
                <a:sym typeface="Effra" panose="02000506080000020004" pitchFamily="2" charset="0"/>
              </a:rPr>
              <a:t>. وتتوفر البوابة والعديد من الخدمات المرتبطة بها على الأجهزة الافتراضية من خلال مبادرة «الموارد المشتركة لبيانات الأبحاث الأسترالية». ومع ذلك، اشترت الشبكة أيضاً أنظمة الأجهزة الخاصة بها والتي تُستخدم لزيادة عروض مبادرة «الموارد المشتركة لبيانات الأبحاث الأسترالية» ومبادرة «البنية التحتية لتخزين البيانات البحثية»</a:t>
            </a:r>
          </a:p>
        </p:txBody>
      </p:sp>
      <p:sp>
        <p:nvSpPr>
          <p:cNvPr id="15" name="Freeform: Shape 14">
            <a:extLst>
              <a:ext uri="{FF2B5EF4-FFF2-40B4-BE49-F238E27FC236}">
                <a16:creationId xmlns:a16="http://schemas.microsoft.com/office/drawing/2014/main" id="{4F5B0827-F996-4759-90EB-E09A17D89CB5}"/>
              </a:ext>
            </a:extLst>
          </p:cNvPr>
          <p:cNvSpPr/>
          <p:nvPr/>
        </p:nvSpPr>
        <p:spPr>
          <a:xfrm>
            <a:off x="11137270" y="4323632"/>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Ins="548640"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sp>
        <p:nvSpPr>
          <p:cNvPr id="16" name="Rectangle 15">
            <a:extLst>
              <a:ext uri="{FF2B5EF4-FFF2-40B4-BE49-F238E27FC236}">
                <a16:creationId xmlns:a16="http://schemas.microsoft.com/office/drawing/2014/main" id="{F8759185-1A62-47D3-9BAF-024C5199E633}"/>
              </a:ext>
            </a:extLst>
          </p:cNvPr>
          <p:cNvSpPr/>
          <p:nvPr/>
        </p:nvSpPr>
        <p:spPr>
          <a:xfrm flipH="1">
            <a:off x="647699" y="5079241"/>
            <a:ext cx="10875065" cy="904458"/>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548640" rIns="5486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lang="ar-SA" sz="1200">
                <a:solidFill>
                  <a:schemeClr val="tx1"/>
                </a:solidFill>
                <a:latin typeface="DIN Next LT Arabic (Body)"/>
                <a:sym typeface="Effra" panose="02000506080000020004" pitchFamily="2" charset="0"/>
              </a:rPr>
              <a:t>طوّرت الشبكة مجموعة وطنية من المتعاونين في مختلف الأوساط الأكاديمية والحكومية والصناعية، حيث تشارك بصورة رئيسية في العديد من المشاريع الكبرى للأبحاث الإلكترونية والبنية التحتية الرقمية سواء المقامة على مستوى المنطقة الحضرية أو المستوى الوطني. وقد أ</a:t>
            </a:r>
            <a:r>
              <a:rPr lang="ar-EG" sz="1200">
                <a:solidFill>
                  <a:schemeClr val="tx1"/>
                </a:solidFill>
                <a:latin typeface="DIN Next LT Arabic (Body)"/>
                <a:sym typeface="Effra" panose="02000506080000020004" pitchFamily="2" charset="0"/>
              </a:rPr>
              <a:t>ُ</a:t>
            </a:r>
            <a:r>
              <a:rPr lang="ar-SA" sz="1200">
                <a:solidFill>
                  <a:schemeClr val="tx1"/>
                </a:solidFill>
                <a:latin typeface="DIN Next LT Arabic (Body)"/>
                <a:sym typeface="Effra" panose="02000506080000020004" pitchFamily="2" charset="0"/>
              </a:rPr>
              <a:t>جرى العديد من المشاريع بالشراكة مع مبادرات أخرى مندرجة تحت مظلة «الاستراتيجية الوطنية للبنية التحتية للأبحاث التعاونية»، وأيضاً من خلال المنح الدراسية في المجال الرقمي والبنية التحتية للأبحاث الإلكترونية في الجامعات، إضافة إلى مراكز السياسات في الجهات الحكومية سواءً على المستوى المحلي أو مستوى الولاية أو المستوى الفيدرالي</a:t>
            </a:r>
          </a:p>
        </p:txBody>
      </p:sp>
      <p:sp>
        <p:nvSpPr>
          <p:cNvPr id="17" name="Freeform: Shape 16">
            <a:extLst>
              <a:ext uri="{FF2B5EF4-FFF2-40B4-BE49-F238E27FC236}">
                <a16:creationId xmlns:a16="http://schemas.microsoft.com/office/drawing/2014/main" id="{1083DA07-D42A-459D-B8B8-9E0D6C7475BD}"/>
              </a:ext>
            </a:extLst>
          </p:cNvPr>
          <p:cNvSpPr/>
          <p:nvPr/>
        </p:nvSpPr>
        <p:spPr>
          <a:xfrm>
            <a:off x="11137270" y="5420471"/>
            <a:ext cx="221999" cy="221999"/>
          </a:xfrm>
          <a:custGeom>
            <a:avLst/>
            <a:gdLst>
              <a:gd name="connsiteX0" fmla="*/ 115677 w 154940"/>
              <a:gd name="connsiteY0" fmla="*/ 44151 h 154940"/>
              <a:gd name="connsiteX1" fmla="*/ 109266 w 154940"/>
              <a:gd name="connsiteY1" fmla="*/ 50283 h 154940"/>
              <a:gd name="connsiteX2" fmla="*/ 65730 w 154940"/>
              <a:gd name="connsiteY2" fmla="*/ 94600 h 154940"/>
              <a:gd name="connsiteX3" fmla="*/ 64336 w 154940"/>
              <a:gd name="connsiteY3" fmla="*/ 96384 h 154940"/>
              <a:gd name="connsiteX4" fmla="*/ 62051 w 154940"/>
              <a:gd name="connsiteY4" fmla="*/ 94823 h 154940"/>
              <a:gd name="connsiteX5" fmla="*/ 39362 w 154940"/>
              <a:gd name="connsiteY5" fmla="*/ 78378 h 154940"/>
              <a:gd name="connsiteX6" fmla="*/ 29719 w 154940"/>
              <a:gd name="connsiteY6" fmla="*/ 78657 h 154940"/>
              <a:gd name="connsiteX7" fmla="*/ 30778 w 154940"/>
              <a:gd name="connsiteY7" fmla="*/ 89862 h 154940"/>
              <a:gd name="connsiteX8" fmla="*/ 59709 w 154940"/>
              <a:gd name="connsiteY8" fmla="*/ 110822 h 154940"/>
              <a:gd name="connsiteX9" fmla="*/ 70858 w 154940"/>
              <a:gd name="connsiteY9" fmla="*/ 109818 h 154940"/>
              <a:gd name="connsiteX10" fmla="*/ 101128 w 154940"/>
              <a:gd name="connsiteY10" fmla="*/ 78936 h 154940"/>
              <a:gd name="connsiteX11" fmla="*/ 110381 w 154940"/>
              <a:gd name="connsiteY11" fmla="*/ 69515 h 154940"/>
              <a:gd name="connsiteX12" fmla="*/ 125711 w 154940"/>
              <a:gd name="connsiteY12" fmla="*/ 54241 h 154940"/>
              <a:gd name="connsiteX13" fmla="*/ 125544 w 154940"/>
              <a:gd name="connsiteY13" fmla="*/ 44374 h 154940"/>
              <a:gd name="connsiteX14" fmla="*/ 115677 w 154940"/>
              <a:gd name="connsiteY14" fmla="*/ 44151 h 154940"/>
              <a:gd name="connsiteX15" fmla="*/ 77470 w 154940"/>
              <a:gd name="connsiteY15" fmla="*/ 0 h 154940"/>
              <a:gd name="connsiteX16" fmla="*/ 154940 w 154940"/>
              <a:gd name="connsiteY16" fmla="*/ 77470 h 154940"/>
              <a:gd name="connsiteX17" fmla="*/ 77470 w 154940"/>
              <a:gd name="connsiteY17" fmla="*/ 154940 h 154940"/>
              <a:gd name="connsiteX18" fmla="*/ 0 w 154940"/>
              <a:gd name="connsiteY18" fmla="*/ 77470 h 154940"/>
              <a:gd name="connsiteX19" fmla="*/ 77470 w 154940"/>
              <a:gd name="connsiteY19" fmla="*/ 0 h 1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40" h="154940">
                <a:moveTo>
                  <a:pt x="115677" y="44151"/>
                </a:moveTo>
                <a:cubicBezTo>
                  <a:pt x="113503" y="46158"/>
                  <a:pt x="111329" y="48165"/>
                  <a:pt x="109266" y="50283"/>
                </a:cubicBezTo>
                <a:cubicBezTo>
                  <a:pt x="94717" y="65055"/>
                  <a:pt x="80223" y="79828"/>
                  <a:pt x="65730" y="94600"/>
                </a:cubicBezTo>
                <a:cubicBezTo>
                  <a:pt x="65172" y="95102"/>
                  <a:pt x="64782" y="95771"/>
                  <a:pt x="64336" y="96384"/>
                </a:cubicBezTo>
                <a:cubicBezTo>
                  <a:pt x="63333" y="95659"/>
                  <a:pt x="62664" y="95213"/>
                  <a:pt x="62051" y="94823"/>
                </a:cubicBezTo>
                <a:cubicBezTo>
                  <a:pt x="54469" y="89304"/>
                  <a:pt x="46944" y="83841"/>
                  <a:pt x="39362" y="78378"/>
                </a:cubicBezTo>
                <a:cubicBezTo>
                  <a:pt x="36074" y="76037"/>
                  <a:pt x="32339" y="76149"/>
                  <a:pt x="29719" y="78657"/>
                </a:cubicBezTo>
                <a:cubicBezTo>
                  <a:pt x="26318" y="81890"/>
                  <a:pt x="26764" y="86963"/>
                  <a:pt x="30778" y="89862"/>
                </a:cubicBezTo>
                <a:cubicBezTo>
                  <a:pt x="40422" y="96886"/>
                  <a:pt x="50065" y="103854"/>
                  <a:pt x="59709" y="110822"/>
                </a:cubicBezTo>
                <a:cubicBezTo>
                  <a:pt x="63946" y="113888"/>
                  <a:pt x="67179" y="113609"/>
                  <a:pt x="70858" y="109818"/>
                </a:cubicBezTo>
                <a:cubicBezTo>
                  <a:pt x="80948" y="99506"/>
                  <a:pt x="91038" y="89249"/>
                  <a:pt x="101128" y="78936"/>
                </a:cubicBezTo>
                <a:cubicBezTo>
                  <a:pt x="104194" y="75758"/>
                  <a:pt x="107260" y="72637"/>
                  <a:pt x="110381" y="69515"/>
                </a:cubicBezTo>
                <a:cubicBezTo>
                  <a:pt x="115454" y="64442"/>
                  <a:pt x="120694" y="59425"/>
                  <a:pt x="125711" y="54241"/>
                </a:cubicBezTo>
                <a:cubicBezTo>
                  <a:pt x="128498" y="51398"/>
                  <a:pt x="128275" y="47106"/>
                  <a:pt x="125544" y="44374"/>
                </a:cubicBezTo>
                <a:cubicBezTo>
                  <a:pt x="122868" y="41587"/>
                  <a:pt x="118576" y="41476"/>
                  <a:pt x="115677" y="44151"/>
                </a:cubicBezTo>
                <a:close/>
                <a:moveTo>
                  <a:pt x="77470" y="0"/>
                </a:moveTo>
                <a:cubicBezTo>
                  <a:pt x="120255" y="0"/>
                  <a:pt x="154940" y="34685"/>
                  <a:pt x="154940" y="77470"/>
                </a:cubicBezTo>
                <a:cubicBezTo>
                  <a:pt x="154940" y="120255"/>
                  <a:pt x="120255" y="154940"/>
                  <a:pt x="77470" y="154940"/>
                </a:cubicBezTo>
                <a:cubicBezTo>
                  <a:pt x="34685" y="154940"/>
                  <a:pt x="0" y="120255"/>
                  <a:pt x="0" y="77470"/>
                </a:cubicBezTo>
                <a:cubicBezTo>
                  <a:pt x="0" y="34685"/>
                  <a:pt x="34685" y="0"/>
                  <a:pt x="77470" y="0"/>
                </a:cubicBez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Ins="548640" rtlCol="0" anchor="ctr"/>
          <a:lstStyle/>
          <a:p>
            <a:pPr marL="0" marR="0" lvl="0" indent="0" algn="ctr" defTabSz="975390" rtl="1"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a:ln>
                <a:noFill/>
              </a:ln>
              <a:solidFill>
                <a:prstClr val="white"/>
              </a:solidFill>
              <a:effectLst/>
              <a:uLnTx/>
              <a:uFillTx/>
              <a:latin typeface="Univers Next Arabic" panose="020B0503030202020203" pitchFamily="34" charset="-78"/>
              <a:ea typeface="+mn-ea"/>
              <a:cs typeface="Univers Next Arabic" panose="020B0503030202020203" pitchFamily="34" charset="-78"/>
              <a:sym typeface="Univers Next Arabic" panose="020B0503030202020203" pitchFamily="34" charset="-78"/>
            </a:endParaRPr>
          </a:p>
        </p:txBody>
      </p:sp>
      <p:pic>
        <p:nvPicPr>
          <p:cNvPr id="22" name="Picture 2" descr="AURIN. Australian Urban Research Infrastructure Network">
            <a:extLst>
              <a:ext uri="{FF2B5EF4-FFF2-40B4-BE49-F238E27FC236}">
                <a16:creationId xmlns:a16="http://schemas.microsoft.com/office/drawing/2014/main" id="{44E96997-A432-4E69-AA09-2A9E82D518C7}"/>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464E8689-3B29-4877-BCF4-6C032C48ADF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647682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3F7ADE-FEB5-4FBF-948C-C1254EFFC7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3" name="think-cell Slide" r:id="rId6" imgW="370" imgH="371" progId="TCLayout.ActiveDocument.1">
                  <p:embed/>
                </p:oleObj>
              </mc:Choice>
              <mc:Fallback>
                <p:oleObj name="think-cell Slide" r:id="rId6" imgW="370" imgH="371" progId="TCLayout.ActiveDocument.1">
                  <p:embed/>
                  <p:pic>
                    <p:nvPicPr>
                      <p:cNvPr id="8" name="Object 7" hidden="1">
                        <a:extLst>
                          <a:ext uri="{FF2B5EF4-FFF2-40B4-BE49-F238E27FC236}">
                            <a16:creationId xmlns:a16="http://schemas.microsoft.com/office/drawing/2014/main" id="{E43F7ADE-FEB5-4FBF-948C-C1254EFFC7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13A784-F060-4531-A3ED-5B5D943D88D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US" sz="3200" u="none" strike="noStrike" kern="1200" cap="none" spc="0" normalizeH="0" noProof="0">
              <a:ln>
                <a:noFill/>
              </a:ln>
              <a:solidFill>
                <a:prstClr val="white"/>
              </a:solidFill>
              <a:effectLst/>
              <a:uLnTx/>
              <a:uFillTx/>
              <a:latin typeface="DIN Next LT Arabic Medium" panose="020B0603020203050203" pitchFamily="34" charset="-78"/>
              <a:ea typeface="+mj-ea"/>
              <a:cs typeface="+mj-cs"/>
              <a:sym typeface="DIN Next LT Arabic Medium" panose="020B0603020203050203"/>
            </a:endParaRPr>
          </a:p>
        </p:txBody>
      </p:sp>
      <p:sp>
        <p:nvSpPr>
          <p:cNvPr id="2" name="Footer Placeholder 1">
            <a:extLst>
              <a:ext uri="{FF2B5EF4-FFF2-40B4-BE49-F238E27FC236}">
                <a16:creationId xmlns:a16="http://schemas.microsoft.com/office/drawing/2014/main" id="{EACF2C47-27E9-4067-89FB-EAE6C773842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127" name="Slide Number Placeholder 4">
            <a:extLst>
              <a:ext uri="{FF2B5EF4-FFF2-40B4-BE49-F238E27FC236}">
                <a16:creationId xmlns:a16="http://schemas.microsoft.com/office/drawing/2014/main" id="{0A07A730-2E79-4E67-A6B8-8F45F7AD6E7A}"/>
              </a:ext>
            </a:extLst>
          </p:cNvPr>
          <p:cNvSpPr>
            <a:spLocks noGrp="1"/>
          </p:cNvSpPr>
          <p:nvPr>
            <p:ph type="sldNum" sz="quarter" idx="12"/>
          </p:nvPr>
        </p:nvSpPr>
        <p:spPr/>
        <p:txBody>
          <a:bodyPr/>
          <a:lstStyle/>
          <a:p>
            <a:pPr lvl="0"/>
            <a:fld id="{9FDB499F-DC86-4996-A3C7-FCE8E06389C2}" type="slidenum">
              <a:rPr lang="ar-SA" noProof="0" smtClean="0"/>
              <a:pPr lvl="0"/>
              <a:t>3</a:t>
            </a:fld>
            <a:endParaRPr lang="ar-SA" noProof="0"/>
          </a:p>
        </p:txBody>
      </p:sp>
      <p:sp>
        <p:nvSpPr>
          <p:cNvPr id="6" name="Title 5">
            <a:extLst>
              <a:ext uri="{FF2B5EF4-FFF2-40B4-BE49-F238E27FC236}">
                <a16:creationId xmlns:a16="http://schemas.microsoft.com/office/drawing/2014/main" id="{0126DA4E-F468-4FFF-80F0-5B46A194F897}"/>
              </a:ext>
            </a:extLst>
          </p:cNvPr>
          <p:cNvSpPr>
            <a:spLocks noGrp="1"/>
          </p:cNvSpPr>
          <p:nvPr>
            <p:ph type="title"/>
          </p:nvPr>
        </p:nvSpPr>
        <p:spPr/>
        <p:txBody>
          <a:bodyPr vert="horz">
            <a:noAutofit/>
          </a:bodyPr>
          <a:lstStyle/>
          <a:p>
            <a:r>
              <a:rPr lang="ar-SA"/>
              <a:t>البنية التقنية للشبكة</a:t>
            </a:r>
          </a:p>
        </p:txBody>
      </p:sp>
      <p:cxnSp>
        <p:nvCxnSpPr>
          <p:cNvPr id="502" name="Straight Arrow Connector 501">
            <a:extLst>
              <a:ext uri="{FF2B5EF4-FFF2-40B4-BE49-F238E27FC236}">
                <a16:creationId xmlns:a16="http://schemas.microsoft.com/office/drawing/2014/main" id="{FAC0FD27-0517-4B9E-A378-D3FABEE1EB16}"/>
              </a:ext>
            </a:extLst>
          </p:cNvPr>
          <p:cNvCxnSpPr>
            <a:cxnSpLocks/>
          </p:cNvCxnSpPr>
          <p:nvPr/>
        </p:nvCxnSpPr>
        <p:spPr>
          <a:xfrm flipH="1">
            <a:off x="5830858" y="6092700"/>
            <a:ext cx="5681574" cy="0"/>
          </a:xfrm>
          <a:prstGeom prst="straightConnector1">
            <a:avLst/>
          </a:prstGeom>
          <a:ln>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04" name="TextBox 503">
            <a:extLst>
              <a:ext uri="{FF2B5EF4-FFF2-40B4-BE49-F238E27FC236}">
                <a16:creationId xmlns:a16="http://schemas.microsoft.com/office/drawing/2014/main" id="{C2F48BAE-80CC-4C87-949A-74A63B48E68A}"/>
              </a:ext>
            </a:extLst>
          </p:cNvPr>
          <p:cNvSpPr txBox="1"/>
          <p:nvPr/>
        </p:nvSpPr>
        <p:spPr>
          <a:xfrm flipH="1">
            <a:off x="8173786" y="5954201"/>
            <a:ext cx="1129882" cy="276999"/>
          </a:xfrm>
          <a:prstGeom prst="rect">
            <a:avLst/>
          </a:prstGeom>
          <a:solidFill>
            <a:schemeClr val="bg1"/>
          </a:solidFill>
        </p:spPr>
        <p:txBody>
          <a:bodyPr wrap="square">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200" b="0" i="0" u="none" strike="noStrike" cap="none" normalizeH="0" baseline="0" noProof="0">
                <a:ln>
                  <a:noFill/>
                </a:ln>
                <a:effectLst/>
                <a:uLnTx/>
                <a:uFillTx/>
                <a:latin typeface="DIN Next LT Arabic"/>
                <a:ea typeface="+mn-ea"/>
                <a:cs typeface="+mn-cs"/>
              </a:rPr>
              <a:t>مصادر البيانات</a:t>
            </a:r>
          </a:p>
        </p:txBody>
      </p:sp>
      <p:sp>
        <p:nvSpPr>
          <p:cNvPr id="206" name="Rectangle: Rounded Corners 205">
            <a:extLst>
              <a:ext uri="{FF2B5EF4-FFF2-40B4-BE49-F238E27FC236}">
                <a16:creationId xmlns:a16="http://schemas.microsoft.com/office/drawing/2014/main" id="{990B28B8-FBEB-48F1-9A47-A5F43429FCF2}"/>
              </a:ext>
            </a:extLst>
          </p:cNvPr>
          <p:cNvSpPr/>
          <p:nvPr/>
        </p:nvSpPr>
        <p:spPr>
          <a:xfrm flipH="1">
            <a:off x="544655" y="4384359"/>
            <a:ext cx="1736588" cy="885834"/>
          </a:xfrm>
          <a:prstGeom prst="roundRect">
            <a:avLst>
              <a:gd name="adj" fmla="val 0"/>
            </a:avLst>
          </a:prstGeom>
          <a:solidFill>
            <a:srgbClr val="ECEC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r" rtl="1"/>
            <a:r>
              <a:rPr lang="ar-SA" sz="1100" b="1">
                <a:solidFill>
                  <a:schemeClr val="tx1"/>
                </a:solidFill>
                <a:latin typeface="DIN Next LT Arabic"/>
              </a:rPr>
              <a:t>المشاركة والتعاون</a:t>
            </a:r>
          </a:p>
          <a:p>
            <a:pPr algn="r" rtl="1"/>
            <a:r>
              <a:rPr lang="ar-SA" sz="1000">
                <a:solidFill>
                  <a:schemeClr val="tx1"/>
                </a:solidFill>
                <a:latin typeface="DIN Next LT Arabic"/>
              </a:rPr>
              <a:t>مساحة سحابية </a:t>
            </a:r>
            <a:br>
              <a:rPr lang="ar-EG" sz="1000">
                <a:solidFill>
                  <a:schemeClr val="tx1"/>
                </a:solidFill>
                <a:latin typeface="DIN Next LT Arabic"/>
              </a:rPr>
            </a:br>
            <a:r>
              <a:rPr lang="ar-SA" sz="1000">
                <a:solidFill>
                  <a:schemeClr val="tx1"/>
                </a:solidFill>
                <a:latin typeface="DIN Next LT Arabic"/>
              </a:rPr>
              <a:t>مخصصة للشبكة</a:t>
            </a:r>
          </a:p>
        </p:txBody>
      </p:sp>
      <p:sp>
        <p:nvSpPr>
          <p:cNvPr id="208" name="Rectangle: Rounded Corners 207">
            <a:extLst>
              <a:ext uri="{FF2B5EF4-FFF2-40B4-BE49-F238E27FC236}">
                <a16:creationId xmlns:a16="http://schemas.microsoft.com/office/drawing/2014/main" id="{0ED46F37-F680-4747-8574-EC83C2D6638A}"/>
              </a:ext>
            </a:extLst>
          </p:cNvPr>
          <p:cNvSpPr/>
          <p:nvPr/>
        </p:nvSpPr>
        <p:spPr>
          <a:xfrm flipH="1">
            <a:off x="2399938" y="4384359"/>
            <a:ext cx="1736588" cy="885834"/>
          </a:xfrm>
          <a:prstGeom prst="roundRect">
            <a:avLst>
              <a:gd name="adj" fmla="val 0"/>
            </a:avLst>
          </a:prstGeom>
          <a:solidFill>
            <a:srgbClr val="ECEC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r" rtl="1"/>
            <a:r>
              <a:rPr lang="ar-SA" sz="1100" b="1">
                <a:solidFill>
                  <a:schemeClr val="tx1"/>
                </a:solidFill>
                <a:latin typeface="DIN Next LT Arabic"/>
              </a:rPr>
              <a:t>تحويل البيانات </a:t>
            </a:r>
            <a:br>
              <a:rPr lang="ar-EG" sz="1100" b="1">
                <a:solidFill>
                  <a:schemeClr val="tx1"/>
                </a:solidFill>
                <a:latin typeface="DIN Next LT Arabic"/>
              </a:rPr>
            </a:br>
            <a:r>
              <a:rPr lang="ar-SA" sz="1100" b="1">
                <a:solidFill>
                  <a:schemeClr val="tx1"/>
                </a:solidFill>
                <a:latin typeface="DIN Next LT Arabic"/>
              </a:rPr>
              <a:t>إلى صور مرئية</a:t>
            </a:r>
          </a:p>
        </p:txBody>
      </p:sp>
      <p:sp>
        <p:nvSpPr>
          <p:cNvPr id="253" name="Rectangle: Rounded Corners 252">
            <a:extLst>
              <a:ext uri="{FF2B5EF4-FFF2-40B4-BE49-F238E27FC236}">
                <a16:creationId xmlns:a16="http://schemas.microsoft.com/office/drawing/2014/main" id="{201B5D92-4CA4-489F-A39B-EA91EBD2219B}"/>
              </a:ext>
            </a:extLst>
          </p:cNvPr>
          <p:cNvSpPr/>
          <p:nvPr/>
        </p:nvSpPr>
        <p:spPr>
          <a:xfrm flipH="1">
            <a:off x="6110506" y="4384359"/>
            <a:ext cx="1736588" cy="885834"/>
          </a:xfrm>
          <a:prstGeom prst="roundRect">
            <a:avLst>
              <a:gd name="adj" fmla="val 0"/>
            </a:avLst>
          </a:prstGeom>
          <a:solidFill>
            <a:srgbClr val="ECEC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a:ln>
                  <a:noFill/>
                </a:ln>
                <a:solidFill>
                  <a:srgbClr val="282560"/>
                </a:solidFill>
                <a:effectLst/>
                <a:uLnTx/>
                <a:uFillTx/>
                <a:latin typeface="DIN Next LT Arabic"/>
                <a:ea typeface="+mn-ea"/>
                <a:cs typeface="+mn-cs"/>
              </a:rPr>
              <a:t>أدوات رسم </a:t>
            </a:r>
            <a:br>
              <a:rPr kumimoji="0" lang="ar-EG" sz="1100" b="1" i="0" u="none" strike="noStrike" cap="none" normalizeH="0" baseline="0" noProof="0">
                <a:ln>
                  <a:noFill/>
                </a:ln>
                <a:solidFill>
                  <a:srgbClr val="282560"/>
                </a:solidFill>
                <a:effectLst/>
                <a:uLnTx/>
                <a:uFillTx/>
                <a:latin typeface="DIN Next LT Arabic"/>
                <a:ea typeface="+mn-ea"/>
                <a:cs typeface="+mn-cs"/>
              </a:rPr>
            </a:br>
            <a:r>
              <a:rPr kumimoji="0" lang="ar-SA" sz="1100" b="1" i="0" u="none" strike="noStrike" cap="none" normalizeH="0" baseline="0" noProof="0">
                <a:ln>
                  <a:noFill/>
                </a:ln>
                <a:solidFill>
                  <a:srgbClr val="282560"/>
                </a:solidFill>
                <a:effectLst/>
                <a:uLnTx/>
                <a:uFillTx/>
                <a:latin typeface="DIN Next LT Arabic"/>
                <a:ea typeface="+mn-ea"/>
                <a:cs typeface="+mn-cs"/>
              </a:rPr>
              <a:t>الخرائط باستخدام </a:t>
            </a:r>
            <a:br>
              <a:rPr kumimoji="0" lang="ar-EG" sz="1100" b="1" i="0" u="none" strike="noStrike" cap="none" normalizeH="0" baseline="0" noProof="0">
                <a:ln>
                  <a:noFill/>
                </a:ln>
                <a:solidFill>
                  <a:srgbClr val="282560"/>
                </a:solidFill>
                <a:effectLst/>
                <a:uLnTx/>
                <a:uFillTx/>
                <a:latin typeface="DIN Next LT Arabic"/>
                <a:ea typeface="+mn-ea"/>
                <a:cs typeface="+mn-cs"/>
              </a:rPr>
            </a:br>
            <a:r>
              <a:rPr kumimoji="0" lang="ar-SA" sz="1100" b="1" i="0" u="none" strike="noStrike" cap="none" normalizeH="0" baseline="0" noProof="0">
                <a:ln>
                  <a:noFill/>
                </a:ln>
                <a:solidFill>
                  <a:srgbClr val="282560"/>
                </a:solidFill>
                <a:effectLst/>
                <a:uLnTx/>
                <a:uFillTx/>
                <a:latin typeface="DIN Next LT Arabic"/>
                <a:ea typeface="+mn-ea"/>
                <a:cs typeface="+mn-cs"/>
              </a:rPr>
              <a:t>نظم المعلومات </a:t>
            </a:r>
            <a:br>
              <a:rPr kumimoji="0" lang="ar-EG" sz="1100" b="1" i="0" u="none" strike="noStrike" cap="none" normalizeH="0" baseline="0" noProof="0">
                <a:ln>
                  <a:noFill/>
                </a:ln>
                <a:solidFill>
                  <a:srgbClr val="282560"/>
                </a:solidFill>
                <a:effectLst/>
                <a:uLnTx/>
                <a:uFillTx/>
                <a:latin typeface="DIN Next LT Arabic"/>
                <a:ea typeface="+mn-ea"/>
                <a:cs typeface="+mn-cs"/>
              </a:rPr>
            </a:br>
            <a:r>
              <a:rPr kumimoji="0" lang="ar-SA" sz="1100" b="1" i="0" u="none" strike="noStrike" cap="none" normalizeH="0" baseline="0" noProof="0">
                <a:ln>
                  <a:noFill/>
                </a:ln>
                <a:solidFill>
                  <a:srgbClr val="282560"/>
                </a:solidFill>
                <a:effectLst/>
                <a:uLnTx/>
                <a:uFillTx/>
                <a:latin typeface="DIN Next LT Arabic"/>
                <a:ea typeface="+mn-ea"/>
                <a:cs typeface="+mn-cs"/>
              </a:rPr>
              <a:t>الجغرافية</a:t>
            </a:r>
          </a:p>
        </p:txBody>
      </p:sp>
      <p:sp>
        <p:nvSpPr>
          <p:cNvPr id="254" name="Rectangle: Rounded Corners 253">
            <a:extLst>
              <a:ext uri="{FF2B5EF4-FFF2-40B4-BE49-F238E27FC236}">
                <a16:creationId xmlns:a16="http://schemas.microsoft.com/office/drawing/2014/main" id="{306DA5C7-F16C-4036-A788-A0D3B36EF3C4}"/>
              </a:ext>
            </a:extLst>
          </p:cNvPr>
          <p:cNvSpPr/>
          <p:nvPr/>
        </p:nvSpPr>
        <p:spPr>
          <a:xfrm flipH="1">
            <a:off x="7965790" y="4384359"/>
            <a:ext cx="1736588" cy="885834"/>
          </a:xfrm>
          <a:prstGeom prst="roundRect">
            <a:avLst>
              <a:gd name="adj" fmla="val 0"/>
            </a:avLst>
          </a:prstGeom>
          <a:solidFill>
            <a:srgbClr val="ECEC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a:ln>
                  <a:noFill/>
                </a:ln>
                <a:solidFill>
                  <a:schemeClr val="tx1"/>
                </a:solidFill>
                <a:effectLst/>
                <a:uLnTx/>
                <a:uFillTx/>
                <a:latin typeface="DIN Next LT Arabic"/>
                <a:ea typeface="+mn-ea"/>
                <a:cs typeface="+mn-cs"/>
              </a:rPr>
              <a:t>الوصول الى البيانات</a:t>
            </a: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000" i="0" u="none" strike="noStrike" cap="none" normalizeH="0" baseline="0" noProof="0">
                <a:ln>
                  <a:noFill/>
                </a:ln>
                <a:solidFill>
                  <a:schemeClr val="tx1"/>
                </a:solidFill>
                <a:effectLst/>
                <a:uLnTx/>
                <a:uFillTx/>
                <a:latin typeface="DIN Next LT Arabic"/>
                <a:ea typeface="+mn-ea"/>
                <a:cs typeface="+mn-cs"/>
              </a:rPr>
              <a:t>البنية التحتية لتخزين </a:t>
            </a:r>
            <a:br>
              <a:rPr kumimoji="0" lang="ar-SA" sz="1000" i="0" u="none" strike="noStrike" cap="none" normalizeH="0" baseline="0" noProof="0">
                <a:ln>
                  <a:noFill/>
                </a:ln>
                <a:solidFill>
                  <a:schemeClr val="tx1"/>
                </a:solidFill>
                <a:effectLst/>
                <a:uLnTx/>
                <a:uFillTx/>
                <a:latin typeface="DIN Next LT Arabic"/>
                <a:ea typeface="+mn-ea"/>
                <a:cs typeface="+mn-cs"/>
              </a:rPr>
            </a:br>
            <a:r>
              <a:rPr kumimoji="0" lang="ar-SA" sz="1000" i="0" u="none" strike="noStrike" cap="none" normalizeH="0" baseline="0" noProof="0">
                <a:ln>
                  <a:noFill/>
                </a:ln>
                <a:solidFill>
                  <a:schemeClr val="tx1"/>
                </a:solidFill>
                <a:effectLst/>
                <a:uLnTx/>
                <a:uFillTx/>
                <a:latin typeface="DIN Next LT Arabic"/>
                <a:ea typeface="+mn-ea"/>
                <a:cs typeface="+mn-cs"/>
              </a:rPr>
              <a:t>البيانات البحثية</a:t>
            </a:r>
          </a:p>
        </p:txBody>
      </p:sp>
      <p:sp>
        <p:nvSpPr>
          <p:cNvPr id="261" name="Rectangle: Rounded Corners 260">
            <a:extLst>
              <a:ext uri="{FF2B5EF4-FFF2-40B4-BE49-F238E27FC236}">
                <a16:creationId xmlns:a16="http://schemas.microsoft.com/office/drawing/2014/main" id="{1E73C04F-76E6-4649-BF52-206F62DBBCF1}"/>
              </a:ext>
            </a:extLst>
          </p:cNvPr>
          <p:cNvSpPr/>
          <p:nvPr/>
        </p:nvSpPr>
        <p:spPr>
          <a:xfrm flipH="1">
            <a:off x="4255222" y="4384359"/>
            <a:ext cx="1736588" cy="885834"/>
          </a:xfrm>
          <a:prstGeom prst="roundRect">
            <a:avLst>
              <a:gd name="adj" fmla="val 0"/>
            </a:avLst>
          </a:prstGeom>
          <a:solidFill>
            <a:srgbClr val="ECEC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r" rtl="1"/>
            <a:r>
              <a:rPr lang="ar-SA" sz="1100" b="1">
                <a:solidFill>
                  <a:schemeClr val="tx1"/>
                </a:solidFill>
                <a:latin typeface="DIN Next LT Arabic"/>
              </a:rPr>
              <a:t>معالجة </a:t>
            </a:r>
            <a:br>
              <a:rPr lang="ar-EG" sz="1100" b="1">
                <a:solidFill>
                  <a:schemeClr val="tx1"/>
                </a:solidFill>
                <a:latin typeface="DIN Next LT Arabic"/>
              </a:rPr>
            </a:br>
            <a:r>
              <a:rPr lang="ar-SA" sz="1100" b="1">
                <a:solidFill>
                  <a:schemeClr val="tx1"/>
                </a:solidFill>
                <a:latin typeface="DIN Next LT Arabic"/>
              </a:rPr>
              <a:t>البيانات وتحليلها</a:t>
            </a:r>
          </a:p>
        </p:txBody>
      </p:sp>
      <p:grpSp>
        <p:nvGrpSpPr>
          <p:cNvPr id="365" name="Group 364">
            <a:extLst>
              <a:ext uri="{FF2B5EF4-FFF2-40B4-BE49-F238E27FC236}">
                <a16:creationId xmlns:a16="http://schemas.microsoft.com/office/drawing/2014/main" id="{1ACD5921-AC4E-4098-A19E-B89943EEEDC2}"/>
              </a:ext>
            </a:extLst>
          </p:cNvPr>
          <p:cNvGrpSpPr/>
          <p:nvPr/>
        </p:nvGrpSpPr>
        <p:grpSpPr>
          <a:xfrm flipH="1">
            <a:off x="8006224" y="4596904"/>
            <a:ext cx="579791" cy="420546"/>
            <a:chOff x="5121437" y="4255375"/>
            <a:chExt cx="786331" cy="570361"/>
          </a:xfrm>
        </p:grpSpPr>
        <p:pic>
          <p:nvPicPr>
            <p:cNvPr id="366" name="Picture 365">
              <a:extLst>
                <a:ext uri="{FF2B5EF4-FFF2-40B4-BE49-F238E27FC236}">
                  <a16:creationId xmlns:a16="http://schemas.microsoft.com/office/drawing/2014/main" id="{EAC87470-8E8B-435A-9797-91EA6D124E2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39204" y="4255375"/>
              <a:ext cx="568564" cy="569996"/>
            </a:xfrm>
            <a:prstGeom prst="rect">
              <a:avLst/>
            </a:prstGeom>
          </p:spPr>
        </p:pic>
        <p:grpSp>
          <p:nvGrpSpPr>
            <p:cNvPr id="367" name="Group 366">
              <a:extLst>
                <a:ext uri="{FF2B5EF4-FFF2-40B4-BE49-F238E27FC236}">
                  <a16:creationId xmlns:a16="http://schemas.microsoft.com/office/drawing/2014/main" id="{E373BE1D-7082-4017-A403-B6C0135D7067}"/>
                </a:ext>
              </a:extLst>
            </p:cNvPr>
            <p:cNvGrpSpPr/>
            <p:nvPr/>
          </p:nvGrpSpPr>
          <p:grpSpPr>
            <a:xfrm>
              <a:off x="5121437" y="4406175"/>
              <a:ext cx="351890" cy="419561"/>
              <a:chOff x="-679189" y="3106270"/>
              <a:chExt cx="608928" cy="726028"/>
            </a:xfrm>
          </p:grpSpPr>
          <p:sp>
            <p:nvSpPr>
              <p:cNvPr id="368" name="Freeform: Shape 367">
                <a:extLst>
                  <a:ext uri="{FF2B5EF4-FFF2-40B4-BE49-F238E27FC236}">
                    <a16:creationId xmlns:a16="http://schemas.microsoft.com/office/drawing/2014/main" id="{BD6C2251-23EB-4B61-8AC6-937356C44C9A}"/>
                  </a:ext>
                </a:extLst>
              </p:cNvPr>
              <p:cNvSpPr/>
              <p:nvPr/>
            </p:nvSpPr>
            <p:spPr>
              <a:xfrm>
                <a:off x="-657860" y="3213100"/>
                <a:ext cx="568960" cy="596900"/>
              </a:xfrm>
              <a:custGeom>
                <a:avLst/>
                <a:gdLst>
                  <a:gd name="connsiteX0" fmla="*/ 568960 w 568960"/>
                  <a:gd name="connsiteY0" fmla="*/ 0 h 596900"/>
                  <a:gd name="connsiteX1" fmla="*/ 553720 w 568960"/>
                  <a:gd name="connsiteY1" fmla="*/ 530860 h 596900"/>
                  <a:gd name="connsiteX2" fmla="*/ 269240 w 568960"/>
                  <a:gd name="connsiteY2" fmla="*/ 596900 h 596900"/>
                  <a:gd name="connsiteX3" fmla="*/ 73660 w 568960"/>
                  <a:gd name="connsiteY3" fmla="*/ 568960 h 596900"/>
                  <a:gd name="connsiteX4" fmla="*/ 0 w 568960"/>
                  <a:gd name="connsiteY4" fmla="*/ 500380 h 596900"/>
                  <a:gd name="connsiteX5" fmla="*/ 2540 w 568960"/>
                  <a:gd name="connsiteY5" fmla="*/ 15240 h 596900"/>
                  <a:gd name="connsiteX6" fmla="*/ 104140 w 568960"/>
                  <a:gd name="connsiteY6" fmla="*/ 73660 h 596900"/>
                  <a:gd name="connsiteX7" fmla="*/ 314960 w 568960"/>
                  <a:gd name="connsiteY7" fmla="*/ 106680 h 596900"/>
                  <a:gd name="connsiteX8" fmla="*/ 530860 w 568960"/>
                  <a:gd name="connsiteY8" fmla="*/ 63500 h 596900"/>
                  <a:gd name="connsiteX9" fmla="*/ 568960 w 568960"/>
                  <a:gd name="connsiteY9" fmla="*/ 0 h 59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960" h="596900">
                    <a:moveTo>
                      <a:pt x="568960" y="0"/>
                    </a:moveTo>
                    <a:lnTo>
                      <a:pt x="553720" y="530860"/>
                    </a:lnTo>
                    <a:lnTo>
                      <a:pt x="269240" y="596900"/>
                    </a:lnTo>
                    <a:lnTo>
                      <a:pt x="73660" y="568960"/>
                    </a:lnTo>
                    <a:lnTo>
                      <a:pt x="0" y="500380"/>
                    </a:lnTo>
                    <a:cubicBezTo>
                      <a:pt x="847" y="338667"/>
                      <a:pt x="1693" y="176953"/>
                      <a:pt x="2540" y="15240"/>
                    </a:cubicBezTo>
                    <a:lnTo>
                      <a:pt x="104140" y="73660"/>
                    </a:lnTo>
                    <a:lnTo>
                      <a:pt x="314960" y="106680"/>
                    </a:lnTo>
                    <a:lnTo>
                      <a:pt x="530860" y="63500"/>
                    </a:lnTo>
                    <a:lnTo>
                      <a:pt x="568960" y="0"/>
                    </a:lnTo>
                    <a:close/>
                  </a:path>
                </a:pathLst>
              </a:custGeom>
              <a:solidFill>
                <a:srgbClr val="A1E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grpSp>
            <p:nvGrpSpPr>
              <p:cNvPr id="369" name="Graphic 18">
                <a:extLst>
                  <a:ext uri="{FF2B5EF4-FFF2-40B4-BE49-F238E27FC236}">
                    <a16:creationId xmlns:a16="http://schemas.microsoft.com/office/drawing/2014/main" id="{23F7A6F2-2EF6-41D8-82BC-BDAF1AC6E6CC}"/>
                  </a:ext>
                </a:extLst>
              </p:cNvPr>
              <p:cNvGrpSpPr/>
              <p:nvPr/>
            </p:nvGrpSpPr>
            <p:grpSpPr>
              <a:xfrm>
                <a:off x="-679189" y="3106270"/>
                <a:ext cx="608928" cy="726028"/>
                <a:chOff x="-679189" y="3106270"/>
                <a:chExt cx="608928" cy="726028"/>
              </a:xfrm>
              <a:solidFill>
                <a:schemeClr val="tx2"/>
              </a:solidFill>
            </p:grpSpPr>
            <p:sp>
              <p:nvSpPr>
                <p:cNvPr id="370" name="Freeform: Shape 369">
                  <a:extLst>
                    <a:ext uri="{FF2B5EF4-FFF2-40B4-BE49-F238E27FC236}">
                      <a16:creationId xmlns:a16="http://schemas.microsoft.com/office/drawing/2014/main" id="{83F4D8A5-643A-480A-A92D-8B5DF6E7DC0B}"/>
                    </a:ext>
                  </a:extLst>
                </p:cNvPr>
                <p:cNvSpPr/>
                <p:nvPr/>
              </p:nvSpPr>
              <p:spPr>
                <a:xfrm>
                  <a:off x="-679189" y="3106270"/>
                  <a:ext cx="608928" cy="140521"/>
                </a:xfrm>
                <a:custGeom>
                  <a:avLst/>
                  <a:gdLst>
                    <a:gd name="connsiteX0" fmla="*/ 585508 w 608928"/>
                    <a:gd name="connsiteY0" fmla="*/ 140522 h 140521"/>
                    <a:gd name="connsiteX1" fmla="*/ 562088 w 608928"/>
                    <a:gd name="connsiteY1" fmla="*/ 117102 h 140521"/>
                    <a:gd name="connsiteX2" fmla="*/ 304464 w 608928"/>
                    <a:gd name="connsiteY2" fmla="*/ 46841 h 140521"/>
                    <a:gd name="connsiteX3" fmla="*/ 46841 w 608928"/>
                    <a:gd name="connsiteY3" fmla="*/ 117102 h 140521"/>
                    <a:gd name="connsiteX4" fmla="*/ 23420 w 608928"/>
                    <a:gd name="connsiteY4" fmla="*/ 140522 h 140521"/>
                    <a:gd name="connsiteX5" fmla="*/ 0 w 608928"/>
                    <a:gd name="connsiteY5" fmla="*/ 117102 h 140521"/>
                    <a:gd name="connsiteX6" fmla="*/ 304464 w 608928"/>
                    <a:gd name="connsiteY6" fmla="*/ 0 h 140521"/>
                    <a:gd name="connsiteX7" fmla="*/ 608928 w 608928"/>
                    <a:gd name="connsiteY7" fmla="*/ 117102 h 140521"/>
                    <a:gd name="connsiteX8" fmla="*/ 585508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585508" y="140522"/>
                      </a:moveTo>
                      <a:cubicBezTo>
                        <a:pt x="572556" y="140522"/>
                        <a:pt x="562088" y="130030"/>
                        <a:pt x="562088" y="117102"/>
                      </a:cubicBezTo>
                      <a:cubicBezTo>
                        <a:pt x="562088" y="93260"/>
                        <a:pt x="471146" y="46841"/>
                        <a:pt x="304464" y="46841"/>
                      </a:cubicBezTo>
                      <a:cubicBezTo>
                        <a:pt x="137782" y="46841"/>
                        <a:pt x="46841" y="93260"/>
                        <a:pt x="46841" y="117102"/>
                      </a:cubicBezTo>
                      <a:cubicBezTo>
                        <a:pt x="46841" y="130030"/>
                        <a:pt x="36348" y="140522"/>
                        <a:pt x="23420" y="140522"/>
                      </a:cubicBezTo>
                      <a:cubicBezTo>
                        <a:pt x="10492" y="140522"/>
                        <a:pt x="0" y="130030"/>
                        <a:pt x="0" y="117102"/>
                      </a:cubicBezTo>
                      <a:cubicBezTo>
                        <a:pt x="0" y="40213"/>
                        <a:pt x="153169" y="0"/>
                        <a:pt x="304464" y="0"/>
                      </a:cubicBezTo>
                      <a:cubicBezTo>
                        <a:pt x="455759" y="0"/>
                        <a:pt x="608928" y="40213"/>
                        <a:pt x="608928" y="117102"/>
                      </a:cubicBezTo>
                      <a:cubicBezTo>
                        <a:pt x="608928" y="130030"/>
                        <a:pt x="598459" y="140522"/>
                        <a:pt x="585508" y="140522"/>
                      </a:cubicBezTo>
                      <a:close/>
                    </a:path>
                  </a:pathLst>
                </a:custGeom>
                <a:grpFill/>
                <a:ln w="23217" cap="flat">
                  <a:noFill/>
                  <a:prstDash val="solid"/>
                  <a:miter/>
                </a:ln>
              </p:spPr>
              <p:txBody>
                <a:bodyPr rtlCol="0" anchor="ctr"/>
                <a:lstStyle/>
                <a:p>
                  <a:pPr algn="r" rtl="1"/>
                  <a:endParaRPr lang="en-US"/>
                </a:p>
              </p:txBody>
            </p:sp>
            <p:sp>
              <p:nvSpPr>
                <p:cNvPr id="371" name="Freeform: Shape 370">
                  <a:extLst>
                    <a:ext uri="{FF2B5EF4-FFF2-40B4-BE49-F238E27FC236}">
                      <a16:creationId xmlns:a16="http://schemas.microsoft.com/office/drawing/2014/main" id="{8992394C-B0C9-46B7-B644-D2CE1162584C}"/>
                    </a:ext>
                  </a:extLst>
                </p:cNvPr>
                <p:cNvSpPr/>
                <p:nvPr/>
              </p:nvSpPr>
              <p:spPr>
                <a:xfrm>
                  <a:off x="-679189" y="3691777"/>
                  <a:ext cx="608928" cy="140521"/>
                </a:xfrm>
                <a:custGeom>
                  <a:avLst/>
                  <a:gdLst>
                    <a:gd name="connsiteX0" fmla="*/ 304464 w 608928"/>
                    <a:gd name="connsiteY0" fmla="*/ 140522 h 140521"/>
                    <a:gd name="connsiteX1" fmla="*/ 0 w 608928"/>
                    <a:gd name="connsiteY1" fmla="*/ 23420 h 140521"/>
                    <a:gd name="connsiteX2" fmla="*/ 23420 w 608928"/>
                    <a:gd name="connsiteY2" fmla="*/ 0 h 140521"/>
                    <a:gd name="connsiteX3" fmla="*/ 46841 w 608928"/>
                    <a:gd name="connsiteY3" fmla="*/ 23420 h 140521"/>
                    <a:gd name="connsiteX4" fmla="*/ 304464 w 608928"/>
                    <a:gd name="connsiteY4" fmla="*/ 93681 h 140521"/>
                    <a:gd name="connsiteX5" fmla="*/ 562088 w 608928"/>
                    <a:gd name="connsiteY5" fmla="*/ 23420 h 140521"/>
                    <a:gd name="connsiteX6" fmla="*/ 585508 w 608928"/>
                    <a:gd name="connsiteY6" fmla="*/ 0 h 140521"/>
                    <a:gd name="connsiteX7" fmla="*/ 608928 w 608928"/>
                    <a:gd name="connsiteY7" fmla="*/ 23420 h 140521"/>
                    <a:gd name="connsiteX8" fmla="*/ 304464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304464" y="140522"/>
                      </a:moveTo>
                      <a:cubicBezTo>
                        <a:pt x="153169" y="140522"/>
                        <a:pt x="0" y="100286"/>
                        <a:pt x="0" y="23420"/>
                      </a:cubicBezTo>
                      <a:cubicBezTo>
                        <a:pt x="0" y="10469"/>
                        <a:pt x="10492" y="0"/>
                        <a:pt x="23420" y="0"/>
                      </a:cubicBezTo>
                      <a:cubicBezTo>
                        <a:pt x="36348" y="0"/>
                        <a:pt x="46841" y="10469"/>
                        <a:pt x="46841" y="23420"/>
                      </a:cubicBezTo>
                      <a:cubicBezTo>
                        <a:pt x="46841" y="47286"/>
                        <a:pt x="137782" y="93681"/>
                        <a:pt x="304464" y="93681"/>
                      </a:cubicBezTo>
                      <a:cubicBezTo>
                        <a:pt x="471146" y="93681"/>
                        <a:pt x="562088" y="47286"/>
                        <a:pt x="562088" y="23420"/>
                      </a:cubicBezTo>
                      <a:cubicBezTo>
                        <a:pt x="562088" y="10469"/>
                        <a:pt x="572556" y="0"/>
                        <a:pt x="585508" y="0"/>
                      </a:cubicBezTo>
                      <a:cubicBezTo>
                        <a:pt x="598459" y="0"/>
                        <a:pt x="608928" y="10469"/>
                        <a:pt x="608928" y="23420"/>
                      </a:cubicBezTo>
                      <a:cubicBezTo>
                        <a:pt x="608928" y="100286"/>
                        <a:pt x="455759" y="140522"/>
                        <a:pt x="304464" y="140522"/>
                      </a:cubicBezTo>
                      <a:close/>
                    </a:path>
                  </a:pathLst>
                </a:custGeom>
                <a:grpFill/>
                <a:ln w="23217" cap="flat">
                  <a:noFill/>
                  <a:prstDash val="solid"/>
                  <a:miter/>
                </a:ln>
              </p:spPr>
              <p:txBody>
                <a:bodyPr rtlCol="0" anchor="ctr"/>
                <a:lstStyle/>
                <a:p>
                  <a:pPr algn="r" rtl="1"/>
                  <a:endParaRPr lang="en-US"/>
                </a:p>
              </p:txBody>
            </p:sp>
            <p:sp>
              <p:nvSpPr>
                <p:cNvPr id="372" name="Freeform: Shape 371">
                  <a:extLst>
                    <a:ext uri="{FF2B5EF4-FFF2-40B4-BE49-F238E27FC236}">
                      <a16:creationId xmlns:a16="http://schemas.microsoft.com/office/drawing/2014/main" id="{71518469-936F-461B-B8AD-1C70EC588FDF}"/>
                    </a:ext>
                  </a:extLst>
                </p:cNvPr>
                <p:cNvSpPr/>
                <p:nvPr/>
              </p:nvSpPr>
              <p:spPr>
                <a:xfrm>
                  <a:off x="-679189" y="3527835"/>
                  <a:ext cx="608928" cy="140521"/>
                </a:xfrm>
                <a:custGeom>
                  <a:avLst/>
                  <a:gdLst>
                    <a:gd name="connsiteX0" fmla="*/ 304464 w 608928"/>
                    <a:gd name="connsiteY0" fmla="*/ 140522 h 140521"/>
                    <a:gd name="connsiteX1" fmla="*/ 0 w 608928"/>
                    <a:gd name="connsiteY1" fmla="*/ 23420 h 140521"/>
                    <a:gd name="connsiteX2" fmla="*/ 23420 w 608928"/>
                    <a:gd name="connsiteY2" fmla="*/ 0 h 140521"/>
                    <a:gd name="connsiteX3" fmla="*/ 46841 w 608928"/>
                    <a:gd name="connsiteY3" fmla="*/ 23420 h 140521"/>
                    <a:gd name="connsiteX4" fmla="*/ 304464 w 608928"/>
                    <a:gd name="connsiteY4" fmla="*/ 93681 h 140521"/>
                    <a:gd name="connsiteX5" fmla="*/ 562088 w 608928"/>
                    <a:gd name="connsiteY5" fmla="*/ 23420 h 140521"/>
                    <a:gd name="connsiteX6" fmla="*/ 585508 w 608928"/>
                    <a:gd name="connsiteY6" fmla="*/ 0 h 140521"/>
                    <a:gd name="connsiteX7" fmla="*/ 608928 w 608928"/>
                    <a:gd name="connsiteY7" fmla="*/ 23420 h 140521"/>
                    <a:gd name="connsiteX8" fmla="*/ 304464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304464" y="140522"/>
                      </a:moveTo>
                      <a:cubicBezTo>
                        <a:pt x="153169" y="140522"/>
                        <a:pt x="0" y="100286"/>
                        <a:pt x="0" y="23420"/>
                      </a:cubicBezTo>
                      <a:cubicBezTo>
                        <a:pt x="0" y="10469"/>
                        <a:pt x="10492" y="0"/>
                        <a:pt x="23420" y="0"/>
                      </a:cubicBezTo>
                      <a:cubicBezTo>
                        <a:pt x="36348" y="0"/>
                        <a:pt x="46841" y="10469"/>
                        <a:pt x="46841" y="23420"/>
                      </a:cubicBezTo>
                      <a:cubicBezTo>
                        <a:pt x="46841" y="47286"/>
                        <a:pt x="137782" y="93681"/>
                        <a:pt x="304464" y="93681"/>
                      </a:cubicBezTo>
                      <a:cubicBezTo>
                        <a:pt x="471146" y="93681"/>
                        <a:pt x="562088" y="47286"/>
                        <a:pt x="562088" y="23420"/>
                      </a:cubicBezTo>
                      <a:cubicBezTo>
                        <a:pt x="562088" y="10469"/>
                        <a:pt x="572556" y="0"/>
                        <a:pt x="585508" y="0"/>
                      </a:cubicBezTo>
                      <a:cubicBezTo>
                        <a:pt x="598459" y="0"/>
                        <a:pt x="608928" y="10469"/>
                        <a:pt x="608928" y="23420"/>
                      </a:cubicBezTo>
                      <a:cubicBezTo>
                        <a:pt x="608928" y="100286"/>
                        <a:pt x="455759" y="140522"/>
                        <a:pt x="304464" y="140522"/>
                      </a:cubicBezTo>
                      <a:close/>
                    </a:path>
                  </a:pathLst>
                </a:custGeom>
                <a:grpFill/>
                <a:ln w="23217" cap="flat">
                  <a:noFill/>
                  <a:prstDash val="solid"/>
                  <a:miter/>
                </a:ln>
              </p:spPr>
              <p:txBody>
                <a:bodyPr rtlCol="0" anchor="ctr"/>
                <a:lstStyle/>
                <a:p>
                  <a:pPr algn="r" rtl="1"/>
                  <a:endParaRPr lang="en-US"/>
                </a:p>
              </p:txBody>
            </p:sp>
            <p:sp>
              <p:nvSpPr>
                <p:cNvPr id="373" name="Freeform: Shape 372">
                  <a:extLst>
                    <a:ext uri="{FF2B5EF4-FFF2-40B4-BE49-F238E27FC236}">
                      <a16:creationId xmlns:a16="http://schemas.microsoft.com/office/drawing/2014/main" id="{ECE60592-1BF8-48DF-88B1-10A8F8B3EA56}"/>
                    </a:ext>
                  </a:extLst>
                </p:cNvPr>
                <p:cNvSpPr/>
                <p:nvPr/>
              </p:nvSpPr>
              <p:spPr>
                <a:xfrm>
                  <a:off x="-679189" y="3363893"/>
                  <a:ext cx="608928" cy="140521"/>
                </a:xfrm>
                <a:custGeom>
                  <a:avLst/>
                  <a:gdLst>
                    <a:gd name="connsiteX0" fmla="*/ 304464 w 608928"/>
                    <a:gd name="connsiteY0" fmla="*/ 140522 h 140521"/>
                    <a:gd name="connsiteX1" fmla="*/ 0 w 608928"/>
                    <a:gd name="connsiteY1" fmla="*/ 23420 h 140521"/>
                    <a:gd name="connsiteX2" fmla="*/ 23420 w 608928"/>
                    <a:gd name="connsiteY2" fmla="*/ 0 h 140521"/>
                    <a:gd name="connsiteX3" fmla="*/ 46841 w 608928"/>
                    <a:gd name="connsiteY3" fmla="*/ 23420 h 140521"/>
                    <a:gd name="connsiteX4" fmla="*/ 304464 w 608928"/>
                    <a:gd name="connsiteY4" fmla="*/ 93681 h 140521"/>
                    <a:gd name="connsiteX5" fmla="*/ 562088 w 608928"/>
                    <a:gd name="connsiteY5" fmla="*/ 23420 h 140521"/>
                    <a:gd name="connsiteX6" fmla="*/ 585508 w 608928"/>
                    <a:gd name="connsiteY6" fmla="*/ 0 h 140521"/>
                    <a:gd name="connsiteX7" fmla="*/ 608928 w 608928"/>
                    <a:gd name="connsiteY7" fmla="*/ 23420 h 140521"/>
                    <a:gd name="connsiteX8" fmla="*/ 304464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304464" y="140522"/>
                      </a:moveTo>
                      <a:cubicBezTo>
                        <a:pt x="153169" y="140522"/>
                        <a:pt x="0" y="100309"/>
                        <a:pt x="0" y="23420"/>
                      </a:cubicBezTo>
                      <a:cubicBezTo>
                        <a:pt x="0" y="10492"/>
                        <a:pt x="10492" y="0"/>
                        <a:pt x="23420" y="0"/>
                      </a:cubicBezTo>
                      <a:cubicBezTo>
                        <a:pt x="36348" y="0"/>
                        <a:pt x="46841" y="10492"/>
                        <a:pt x="46841" y="23420"/>
                      </a:cubicBezTo>
                      <a:cubicBezTo>
                        <a:pt x="46841" y="47262"/>
                        <a:pt x="137782" y="93681"/>
                        <a:pt x="304464" y="93681"/>
                      </a:cubicBezTo>
                      <a:cubicBezTo>
                        <a:pt x="471146" y="93681"/>
                        <a:pt x="562088" y="47262"/>
                        <a:pt x="562088" y="23420"/>
                      </a:cubicBezTo>
                      <a:cubicBezTo>
                        <a:pt x="562088" y="10492"/>
                        <a:pt x="572556" y="0"/>
                        <a:pt x="585508" y="0"/>
                      </a:cubicBezTo>
                      <a:cubicBezTo>
                        <a:pt x="598459" y="0"/>
                        <a:pt x="608928" y="10492"/>
                        <a:pt x="608928" y="23420"/>
                      </a:cubicBezTo>
                      <a:cubicBezTo>
                        <a:pt x="608928" y="100309"/>
                        <a:pt x="455759" y="140522"/>
                        <a:pt x="304464" y="140522"/>
                      </a:cubicBezTo>
                      <a:close/>
                    </a:path>
                  </a:pathLst>
                </a:custGeom>
                <a:grpFill/>
                <a:ln w="23217" cap="flat">
                  <a:noFill/>
                  <a:prstDash val="solid"/>
                  <a:miter/>
                </a:ln>
              </p:spPr>
              <p:txBody>
                <a:bodyPr rtlCol="0" anchor="ctr"/>
                <a:lstStyle/>
                <a:p>
                  <a:pPr algn="r" rtl="1"/>
                  <a:endParaRPr lang="en-US"/>
                </a:p>
              </p:txBody>
            </p:sp>
            <p:sp>
              <p:nvSpPr>
                <p:cNvPr id="374" name="Freeform: Shape 373">
                  <a:extLst>
                    <a:ext uri="{FF2B5EF4-FFF2-40B4-BE49-F238E27FC236}">
                      <a16:creationId xmlns:a16="http://schemas.microsoft.com/office/drawing/2014/main" id="{24DDCF3A-7424-4722-A8D7-C086948B619C}"/>
                    </a:ext>
                  </a:extLst>
                </p:cNvPr>
                <p:cNvSpPr/>
                <p:nvPr/>
              </p:nvSpPr>
              <p:spPr>
                <a:xfrm>
                  <a:off x="-679189" y="3199951"/>
                  <a:ext cx="608928" cy="140521"/>
                </a:xfrm>
                <a:custGeom>
                  <a:avLst/>
                  <a:gdLst>
                    <a:gd name="connsiteX0" fmla="*/ 304464 w 608928"/>
                    <a:gd name="connsiteY0" fmla="*/ 140522 h 140521"/>
                    <a:gd name="connsiteX1" fmla="*/ 0 w 608928"/>
                    <a:gd name="connsiteY1" fmla="*/ 23420 h 140521"/>
                    <a:gd name="connsiteX2" fmla="*/ 23420 w 608928"/>
                    <a:gd name="connsiteY2" fmla="*/ 0 h 140521"/>
                    <a:gd name="connsiteX3" fmla="*/ 46841 w 608928"/>
                    <a:gd name="connsiteY3" fmla="*/ 23420 h 140521"/>
                    <a:gd name="connsiteX4" fmla="*/ 304464 w 608928"/>
                    <a:gd name="connsiteY4" fmla="*/ 93681 h 140521"/>
                    <a:gd name="connsiteX5" fmla="*/ 562088 w 608928"/>
                    <a:gd name="connsiteY5" fmla="*/ 23420 h 140521"/>
                    <a:gd name="connsiteX6" fmla="*/ 585508 w 608928"/>
                    <a:gd name="connsiteY6" fmla="*/ 0 h 140521"/>
                    <a:gd name="connsiteX7" fmla="*/ 608928 w 608928"/>
                    <a:gd name="connsiteY7" fmla="*/ 23420 h 140521"/>
                    <a:gd name="connsiteX8" fmla="*/ 304464 w 608928"/>
                    <a:gd name="connsiteY8" fmla="*/ 140522 h 14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928" h="140521">
                      <a:moveTo>
                        <a:pt x="304464" y="140522"/>
                      </a:moveTo>
                      <a:cubicBezTo>
                        <a:pt x="153169" y="140522"/>
                        <a:pt x="0" y="100309"/>
                        <a:pt x="0" y="23420"/>
                      </a:cubicBezTo>
                      <a:cubicBezTo>
                        <a:pt x="0" y="10492"/>
                        <a:pt x="10492" y="0"/>
                        <a:pt x="23420" y="0"/>
                      </a:cubicBezTo>
                      <a:cubicBezTo>
                        <a:pt x="36348" y="0"/>
                        <a:pt x="46841" y="10492"/>
                        <a:pt x="46841" y="23420"/>
                      </a:cubicBezTo>
                      <a:cubicBezTo>
                        <a:pt x="46841" y="47262"/>
                        <a:pt x="137782" y="93681"/>
                        <a:pt x="304464" y="93681"/>
                      </a:cubicBezTo>
                      <a:cubicBezTo>
                        <a:pt x="471146" y="93681"/>
                        <a:pt x="562088" y="47262"/>
                        <a:pt x="562088" y="23420"/>
                      </a:cubicBezTo>
                      <a:cubicBezTo>
                        <a:pt x="562088" y="10492"/>
                        <a:pt x="572556" y="0"/>
                        <a:pt x="585508" y="0"/>
                      </a:cubicBezTo>
                      <a:cubicBezTo>
                        <a:pt x="598459" y="0"/>
                        <a:pt x="608928" y="10492"/>
                        <a:pt x="608928" y="23420"/>
                      </a:cubicBezTo>
                      <a:cubicBezTo>
                        <a:pt x="608928" y="100309"/>
                        <a:pt x="455759" y="140522"/>
                        <a:pt x="304464" y="140522"/>
                      </a:cubicBezTo>
                      <a:close/>
                    </a:path>
                  </a:pathLst>
                </a:custGeom>
                <a:grpFill/>
                <a:ln w="23217" cap="flat">
                  <a:noFill/>
                  <a:prstDash val="solid"/>
                  <a:miter/>
                </a:ln>
              </p:spPr>
              <p:txBody>
                <a:bodyPr rtlCol="0" anchor="ctr"/>
                <a:lstStyle/>
                <a:p>
                  <a:pPr algn="r" rtl="1"/>
                  <a:endParaRPr lang="en-US"/>
                </a:p>
              </p:txBody>
            </p:sp>
            <p:sp>
              <p:nvSpPr>
                <p:cNvPr id="375" name="Freeform: Shape 374">
                  <a:extLst>
                    <a:ext uri="{FF2B5EF4-FFF2-40B4-BE49-F238E27FC236}">
                      <a16:creationId xmlns:a16="http://schemas.microsoft.com/office/drawing/2014/main" id="{59E50E2F-AC17-4277-8BDE-08C0D62A2895}"/>
                    </a:ext>
                  </a:extLst>
                </p:cNvPr>
                <p:cNvSpPr/>
                <p:nvPr/>
              </p:nvSpPr>
              <p:spPr>
                <a:xfrm>
                  <a:off x="-679189" y="3199951"/>
                  <a:ext cx="46840" cy="538666"/>
                </a:xfrm>
                <a:custGeom>
                  <a:avLst/>
                  <a:gdLst>
                    <a:gd name="connsiteX0" fmla="*/ 23420 w 46840"/>
                    <a:gd name="connsiteY0" fmla="*/ 538667 h 538666"/>
                    <a:gd name="connsiteX1" fmla="*/ 0 w 46840"/>
                    <a:gd name="connsiteY1" fmla="*/ 515247 h 538666"/>
                    <a:gd name="connsiteX2" fmla="*/ 0 w 46840"/>
                    <a:gd name="connsiteY2" fmla="*/ 23420 h 538666"/>
                    <a:gd name="connsiteX3" fmla="*/ 23420 w 46840"/>
                    <a:gd name="connsiteY3" fmla="*/ 0 h 538666"/>
                    <a:gd name="connsiteX4" fmla="*/ 46841 w 46840"/>
                    <a:gd name="connsiteY4" fmla="*/ 23420 h 538666"/>
                    <a:gd name="connsiteX5" fmla="*/ 46841 w 46840"/>
                    <a:gd name="connsiteY5" fmla="*/ 515247 h 538666"/>
                    <a:gd name="connsiteX6" fmla="*/ 23420 w 46840"/>
                    <a:gd name="connsiteY6" fmla="*/ 538667 h 53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840" h="538666">
                      <a:moveTo>
                        <a:pt x="23420" y="538667"/>
                      </a:moveTo>
                      <a:cubicBezTo>
                        <a:pt x="10492" y="538667"/>
                        <a:pt x="0" y="528198"/>
                        <a:pt x="0" y="515247"/>
                      </a:cubicBezTo>
                      <a:lnTo>
                        <a:pt x="0" y="23420"/>
                      </a:lnTo>
                      <a:cubicBezTo>
                        <a:pt x="0" y="10492"/>
                        <a:pt x="10492" y="0"/>
                        <a:pt x="23420" y="0"/>
                      </a:cubicBezTo>
                      <a:cubicBezTo>
                        <a:pt x="36348" y="0"/>
                        <a:pt x="46841" y="10492"/>
                        <a:pt x="46841" y="23420"/>
                      </a:cubicBezTo>
                      <a:lnTo>
                        <a:pt x="46841" y="515247"/>
                      </a:lnTo>
                      <a:cubicBezTo>
                        <a:pt x="46841" y="528198"/>
                        <a:pt x="36348" y="538667"/>
                        <a:pt x="23420" y="538667"/>
                      </a:cubicBezTo>
                      <a:close/>
                    </a:path>
                  </a:pathLst>
                </a:custGeom>
                <a:grpFill/>
                <a:ln w="23217" cap="flat">
                  <a:noFill/>
                  <a:prstDash val="solid"/>
                  <a:miter/>
                </a:ln>
              </p:spPr>
              <p:txBody>
                <a:bodyPr rtlCol="0" anchor="ctr"/>
                <a:lstStyle/>
                <a:p>
                  <a:pPr algn="r" rtl="1"/>
                  <a:endParaRPr lang="en-US"/>
                </a:p>
              </p:txBody>
            </p:sp>
            <p:sp>
              <p:nvSpPr>
                <p:cNvPr id="376" name="Freeform: Shape 375">
                  <a:extLst>
                    <a:ext uri="{FF2B5EF4-FFF2-40B4-BE49-F238E27FC236}">
                      <a16:creationId xmlns:a16="http://schemas.microsoft.com/office/drawing/2014/main" id="{31F045A2-4B99-4702-91CB-963AACD0654E}"/>
                    </a:ext>
                  </a:extLst>
                </p:cNvPr>
                <p:cNvSpPr/>
                <p:nvPr/>
              </p:nvSpPr>
              <p:spPr>
                <a:xfrm>
                  <a:off x="-117101" y="3199951"/>
                  <a:ext cx="46840" cy="538666"/>
                </a:xfrm>
                <a:custGeom>
                  <a:avLst/>
                  <a:gdLst>
                    <a:gd name="connsiteX0" fmla="*/ 23420 w 46840"/>
                    <a:gd name="connsiteY0" fmla="*/ 538667 h 538666"/>
                    <a:gd name="connsiteX1" fmla="*/ 0 w 46840"/>
                    <a:gd name="connsiteY1" fmla="*/ 515247 h 538666"/>
                    <a:gd name="connsiteX2" fmla="*/ 0 w 46840"/>
                    <a:gd name="connsiteY2" fmla="*/ 23420 h 538666"/>
                    <a:gd name="connsiteX3" fmla="*/ 23420 w 46840"/>
                    <a:gd name="connsiteY3" fmla="*/ 0 h 538666"/>
                    <a:gd name="connsiteX4" fmla="*/ 46841 w 46840"/>
                    <a:gd name="connsiteY4" fmla="*/ 23420 h 538666"/>
                    <a:gd name="connsiteX5" fmla="*/ 46841 w 46840"/>
                    <a:gd name="connsiteY5" fmla="*/ 515247 h 538666"/>
                    <a:gd name="connsiteX6" fmla="*/ 23420 w 46840"/>
                    <a:gd name="connsiteY6" fmla="*/ 538667 h 53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840" h="538666">
                      <a:moveTo>
                        <a:pt x="23420" y="538667"/>
                      </a:moveTo>
                      <a:cubicBezTo>
                        <a:pt x="10469" y="538667"/>
                        <a:pt x="0" y="528198"/>
                        <a:pt x="0" y="515247"/>
                      </a:cubicBezTo>
                      <a:lnTo>
                        <a:pt x="0" y="23420"/>
                      </a:lnTo>
                      <a:cubicBezTo>
                        <a:pt x="0" y="10492"/>
                        <a:pt x="10469" y="0"/>
                        <a:pt x="23420" y="0"/>
                      </a:cubicBezTo>
                      <a:cubicBezTo>
                        <a:pt x="36372" y="0"/>
                        <a:pt x="46841" y="10492"/>
                        <a:pt x="46841" y="23420"/>
                      </a:cubicBezTo>
                      <a:lnTo>
                        <a:pt x="46841" y="515247"/>
                      </a:lnTo>
                      <a:cubicBezTo>
                        <a:pt x="46841" y="528198"/>
                        <a:pt x="36372" y="538667"/>
                        <a:pt x="23420" y="538667"/>
                      </a:cubicBezTo>
                      <a:close/>
                    </a:path>
                  </a:pathLst>
                </a:custGeom>
                <a:grpFill/>
                <a:ln w="23217" cap="flat">
                  <a:noFill/>
                  <a:prstDash val="solid"/>
                  <a:miter/>
                </a:ln>
              </p:spPr>
              <p:txBody>
                <a:bodyPr rtlCol="0" anchor="ctr"/>
                <a:lstStyle/>
                <a:p>
                  <a:pPr algn="r" rtl="1"/>
                  <a:endParaRPr lang="en-US"/>
                </a:p>
              </p:txBody>
            </p:sp>
            <p:sp>
              <p:nvSpPr>
                <p:cNvPr id="377" name="Freeform: Shape 376">
                  <a:extLst>
                    <a:ext uri="{FF2B5EF4-FFF2-40B4-BE49-F238E27FC236}">
                      <a16:creationId xmlns:a16="http://schemas.microsoft.com/office/drawing/2014/main" id="{DC313069-729F-4290-BB2B-04227F9D331B}"/>
                    </a:ext>
                  </a:extLst>
                </p:cNvPr>
                <p:cNvSpPr/>
                <p:nvPr/>
              </p:nvSpPr>
              <p:spPr>
                <a:xfrm>
                  <a:off x="-187362" y="3340473"/>
                  <a:ext cx="46840" cy="46840"/>
                </a:xfrm>
                <a:custGeom>
                  <a:avLst/>
                  <a:gdLst>
                    <a:gd name="connsiteX0" fmla="*/ 46841 w 46840"/>
                    <a:gd name="connsiteY0" fmla="*/ 23420 h 46840"/>
                    <a:gd name="connsiteX1" fmla="*/ 23420 w 46840"/>
                    <a:gd name="connsiteY1" fmla="*/ 46841 h 46840"/>
                    <a:gd name="connsiteX2" fmla="*/ 0 w 46840"/>
                    <a:gd name="connsiteY2" fmla="*/ 23420 h 46840"/>
                    <a:gd name="connsiteX3" fmla="*/ 23420 w 46840"/>
                    <a:gd name="connsiteY3" fmla="*/ 0 h 46840"/>
                    <a:gd name="connsiteX4" fmla="*/ 46841 w 46840"/>
                    <a:gd name="connsiteY4" fmla="*/ 23420 h 4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40" h="46840">
                      <a:moveTo>
                        <a:pt x="46841" y="23420"/>
                      </a:moveTo>
                      <a:cubicBezTo>
                        <a:pt x="46841" y="36355"/>
                        <a:pt x="36355" y="46841"/>
                        <a:pt x="23420" y="46841"/>
                      </a:cubicBezTo>
                      <a:cubicBezTo>
                        <a:pt x="10486" y="46841"/>
                        <a:pt x="0" y="36355"/>
                        <a:pt x="0" y="23420"/>
                      </a:cubicBezTo>
                      <a:cubicBezTo>
                        <a:pt x="0" y="10486"/>
                        <a:pt x="10486" y="0"/>
                        <a:pt x="23420" y="0"/>
                      </a:cubicBezTo>
                      <a:cubicBezTo>
                        <a:pt x="36355" y="0"/>
                        <a:pt x="46841" y="10486"/>
                        <a:pt x="46841" y="23420"/>
                      </a:cubicBezTo>
                      <a:close/>
                    </a:path>
                  </a:pathLst>
                </a:custGeom>
                <a:grpFill/>
                <a:ln w="23217" cap="flat">
                  <a:noFill/>
                  <a:prstDash val="solid"/>
                  <a:miter/>
                </a:ln>
              </p:spPr>
              <p:txBody>
                <a:bodyPr rtlCol="0" anchor="ctr"/>
                <a:lstStyle/>
                <a:p>
                  <a:pPr algn="r" rtl="1"/>
                  <a:endParaRPr lang="en-US"/>
                </a:p>
              </p:txBody>
            </p:sp>
            <p:sp>
              <p:nvSpPr>
                <p:cNvPr id="378" name="Freeform: Shape 377">
                  <a:extLst>
                    <a:ext uri="{FF2B5EF4-FFF2-40B4-BE49-F238E27FC236}">
                      <a16:creationId xmlns:a16="http://schemas.microsoft.com/office/drawing/2014/main" id="{878BA253-3D4B-4CAD-B287-BEEE7B13915D}"/>
                    </a:ext>
                  </a:extLst>
                </p:cNvPr>
                <p:cNvSpPr/>
                <p:nvPr/>
              </p:nvSpPr>
              <p:spPr>
                <a:xfrm>
                  <a:off x="-187362" y="3504415"/>
                  <a:ext cx="46840" cy="46840"/>
                </a:xfrm>
                <a:custGeom>
                  <a:avLst/>
                  <a:gdLst>
                    <a:gd name="connsiteX0" fmla="*/ 46841 w 46840"/>
                    <a:gd name="connsiteY0" fmla="*/ 23420 h 46840"/>
                    <a:gd name="connsiteX1" fmla="*/ 23420 w 46840"/>
                    <a:gd name="connsiteY1" fmla="*/ 46841 h 46840"/>
                    <a:gd name="connsiteX2" fmla="*/ 0 w 46840"/>
                    <a:gd name="connsiteY2" fmla="*/ 23420 h 46840"/>
                    <a:gd name="connsiteX3" fmla="*/ 23420 w 46840"/>
                    <a:gd name="connsiteY3" fmla="*/ 0 h 46840"/>
                    <a:gd name="connsiteX4" fmla="*/ 46841 w 46840"/>
                    <a:gd name="connsiteY4" fmla="*/ 23420 h 4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40" h="46840">
                      <a:moveTo>
                        <a:pt x="46841" y="23420"/>
                      </a:moveTo>
                      <a:cubicBezTo>
                        <a:pt x="46841" y="36355"/>
                        <a:pt x="36355" y="46841"/>
                        <a:pt x="23420" y="46841"/>
                      </a:cubicBezTo>
                      <a:cubicBezTo>
                        <a:pt x="10486" y="46841"/>
                        <a:pt x="0" y="36355"/>
                        <a:pt x="0" y="23420"/>
                      </a:cubicBezTo>
                      <a:cubicBezTo>
                        <a:pt x="0" y="10486"/>
                        <a:pt x="10486" y="0"/>
                        <a:pt x="23420" y="0"/>
                      </a:cubicBezTo>
                      <a:cubicBezTo>
                        <a:pt x="36355" y="0"/>
                        <a:pt x="46841" y="10486"/>
                        <a:pt x="46841" y="23420"/>
                      </a:cubicBezTo>
                      <a:close/>
                    </a:path>
                  </a:pathLst>
                </a:custGeom>
                <a:grpFill/>
                <a:ln w="23217" cap="flat">
                  <a:noFill/>
                  <a:prstDash val="solid"/>
                  <a:miter/>
                </a:ln>
              </p:spPr>
              <p:txBody>
                <a:bodyPr rtlCol="0" anchor="ctr"/>
                <a:lstStyle/>
                <a:p>
                  <a:pPr algn="r" rtl="1"/>
                  <a:endParaRPr lang="en-US"/>
                </a:p>
              </p:txBody>
            </p:sp>
            <p:sp>
              <p:nvSpPr>
                <p:cNvPr id="379" name="Freeform: Shape 378">
                  <a:extLst>
                    <a:ext uri="{FF2B5EF4-FFF2-40B4-BE49-F238E27FC236}">
                      <a16:creationId xmlns:a16="http://schemas.microsoft.com/office/drawing/2014/main" id="{71523B38-CF7E-48EB-A685-9FDB193FEC3E}"/>
                    </a:ext>
                  </a:extLst>
                </p:cNvPr>
                <p:cNvSpPr/>
                <p:nvPr/>
              </p:nvSpPr>
              <p:spPr>
                <a:xfrm>
                  <a:off x="-187362" y="3668357"/>
                  <a:ext cx="46840" cy="46840"/>
                </a:xfrm>
                <a:custGeom>
                  <a:avLst/>
                  <a:gdLst>
                    <a:gd name="connsiteX0" fmla="*/ 46841 w 46840"/>
                    <a:gd name="connsiteY0" fmla="*/ 23420 h 46840"/>
                    <a:gd name="connsiteX1" fmla="*/ 23420 w 46840"/>
                    <a:gd name="connsiteY1" fmla="*/ 46841 h 46840"/>
                    <a:gd name="connsiteX2" fmla="*/ 0 w 46840"/>
                    <a:gd name="connsiteY2" fmla="*/ 23420 h 46840"/>
                    <a:gd name="connsiteX3" fmla="*/ 23420 w 46840"/>
                    <a:gd name="connsiteY3" fmla="*/ 0 h 46840"/>
                    <a:gd name="connsiteX4" fmla="*/ 46841 w 46840"/>
                    <a:gd name="connsiteY4" fmla="*/ 23420 h 4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40" h="46840">
                      <a:moveTo>
                        <a:pt x="46841" y="23420"/>
                      </a:moveTo>
                      <a:cubicBezTo>
                        <a:pt x="46841" y="36355"/>
                        <a:pt x="36355" y="46841"/>
                        <a:pt x="23420" y="46841"/>
                      </a:cubicBezTo>
                      <a:cubicBezTo>
                        <a:pt x="10486" y="46841"/>
                        <a:pt x="0" y="36355"/>
                        <a:pt x="0" y="23420"/>
                      </a:cubicBezTo>
                      <a:cubicBezTo>
                        <a:pt x="0" y="10486"/>
                        <a:pt x="10486" y="0"/>
                        <a:pt x="23420" y="0"/>
                      </a:cubicBezTo>
                      <a:cubicBezTo>
                        <a:pt x="36355" y="0"/>
                        <a:pt x="46841" y="10486"/>
                        <a:pt x="46841" y="23420"/>
                      </a:cubicBezTo>
                      <a:close/>
                    </a:path>
                  </a:pathLst>
                </a:custGeom>
                <a:grpFill/>
                <a:ln w="23217" cap="flat">
                  <a:noFill/>
                  <a:prstDash val="solid"/>
                  <a:miter/>
                </a:ln>
              </p:spPr>
              <p:txBody>
                <a:bodyPr rtlCol="0" anchor="ctr"/>
                <a:lstStyle/>
                <a:p>
                  <a:pPr algn="r" rtl="1"/>
                  <a:endParaRPr lang="en-US"/>
                </a:p>
              </p:txBody>
            </p:sp>
          </p:grpSp>
        </p:grpSp>
      </p:grpSp>
      <p:sp>
        <p:nvSpPr>
          <p:cNvPr id="202" name="Rectangle 201">
            <a:extLst>
              <a:ext uri="{FF2B5EF4-FFF2-40B4-BE49-F238E27FC236}">
                <a16:creationId xmlns:a16="http://schemas.microsoft.com/office/drawing/2014/main" id="{3CB51F10-4F5B-4C3D-8DF1-E4C0921F21E8}"/>
              </a:ext>
            </a:extLst>
          </p:cNvPr>
          <p:cNvSpPr/>
          <p:nvPr/>
        </p:nvSpPr>
        <p:spPr>
          <a:xfrm flipH="1">
            <a:off x="616460" y="1185915"/>
            <a:ext cx="10988041" cy="52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تركز البنية التقنية </a:t>
            </a:r>
            <a:r>
              <a:rPr kumimoji="0" lang="ar-EG" sz="1400" b="0" i="0" u="none" strike="noStrike" cap="none" normalizeH="0" baseline="0" noProof="0">
                <a:ln>
                  <a:noFill/>
                </a:ln>
                <a:solidFill>
                  <a:schemeClr val="tx1"/>
                </a:solidFill>
                <a:effectLst/>
                <a:uLnTx/>
                <a:uFillTx/>
                <a:latin typeface="DIN Next LT Arabic"/>
                <a:ea typeface="+mn-ea"/>
                <a:cs typeface="+mn-cs"/>
              </a:rPr>
              <a:t>لدى </a:t>
            </a:r>
            <a:r>
              <a:rPr kumimoji="0" lang="ar-SA" sz="1400" b="0" i="0" u="none" strike="noStrike" cap="none" normalizeH="0" baseline="0" noProof="0">
                <a:ln>
                  <a:noFill/>
                </a:ln>
                <a:solidFill>
                  <a:srgbClr val="282560"/>
                </a:solidFill>
                <a:effectLst/>
                <a:uLnTx/>
                <a:uFillTx/>
                <a:latin typeface="DIN Next LT Arabic"/>
                <a:ea typeface="+mn-ea"/>
                <a:cs typeface="DIN Next LT Arabic"/>
              </a:rPr>
              <a:t>«الشبكة الأسترالية للبنية التحتية للأبحاث الحضرية» </a:t>
            </a:r>
            <a:r>
              <a:rPr kumimoji="0" lang="ar-SA" sz="1400" b="0" i="0" u="none" strike="noStrike" cap="none" normalizeH="0" baseline="0" noProof="0">
                <a:ln>
                  <a:noFill/>
                </a:ln>
                <a:solidFill>
                  <a:schemeClr val="tx1"/>
                </a:solidFill>
                <a:effectLst/>
                <a:uLnTx/>
                <a:uFillTx/>
                <a:latin typeface="DIN Next LT Arabic"/>
                <a:ea typeface="+mn-ea"/>
                <a:cs typeface="+mn-cs"/>
              </a:rPr>
              <a:t>على توفير بوابة واحدة توفر للباحثين إمكانية الوصول إلى بيانات متنوعة واردة من مجموعة واسعة من الجهات، ولديها القدرة على تحقيق التكامل بين البيانات باستخدام مجموعة أدوات متخصصة في التحليل والنمذجة </a:t>
            </a:r>
            <a:r>
              <a:rPr kumimoji="0" lang="ar-EG" sz="1400" b="0" i="0" u="none" strike="noStrike" cap="none" normalizeH="0" baseline="0" noProof="0">
                <a:ln>
                  <a:noFill/>
                </a:ln>
                <a:solidFill>
                  <a:schemeClr val="tx1"/>
                </a:solidFill>
                <a:effectLst/>
                <a:uLnTx/>
                <a:uFillTx/>
                <a:latin typeface="DIN Next LT Arabic"/>
                <a:ea typeface="+mn-ea"/>
                <a:cs typeface="+mn-cs"/>
              </a:rPr>
              <a:t>و</a:t>
            </a:r>
            <a:r>
              <a:rPr kumimoji="0" lang="ar-SA" sz="1400" b="0" i="0" u="none" strike="noStrike" cap="none" normalizeH="0" baseline="0" noProof="0">
                <a:ln>
                  <a:noFill/>
                </a:ln>
                <a:solidFill>
                  <a:schemeClr val="tx1"/>
                </a:solidFill>
                <a:effectLst/>
                <a:uLnTx/>
                <a:uFillTx/>
                <a:latin typeface="DIN Next LT Arabic"/>
                <a:ea typeface="+mn-ea"/>
                <a:cs typeface="+mn-cs"/>
              </a:rPr>
              <a:t>تحويل البيانات إلى صور مرئية</a:t>
            </a:r>
          </a:p>
        </p:txBody>
      </p:sp>
      <p:sp>
        <p:nvSpPr>
          <p:cNvPr id="203" name="Rectangle: Rounded Corners 202">
            <a:extLst>
              <a:ext uri="{FF2B5EF4-FFF2-40B4-BE49-F238E27FC236}">
                <a16:creationId xmlns:a16="http://schemas.microsoft.com/office/drawing/2014/main" id="{A67CE90A-001F-4433-AEAB-BC3F4B6808A0}"/>
              </a:ext>
            </a:extLst>
          </p:cNvPr>
          <p:cNvSpPr/>
          <p:nvPr/>
        </p:nvSpPr>
        <p:spPr>
          <a:xfrm flipH="1">
            <a:off x="1096612" y="5566438"/>
            <a:ext cx="1337033" cy="387564"/>
          </a:xfrm>
          <a:prstGeom prst="roundRect">
            <a:avLst>
              <a:gd name="adj" fmla="val 0"/>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b="1">
                <a:solidFill>
                  <a:srgbClr val="282560"/>
                </a:solidFill>
                <a:latin typeface="DIN Next LT Arabic"/>
              </a:rPr>
              <a:t>الأدوات المكانية </a:t>
            </a:r>
            <a:br>
              <a:rPr lang="ar-SA" sz="1000" b="1">
                <a:solidFill>
                  <a:srgbClr val="282560"/>
                </a:solidFill>
                <a:latin typeface="DIN Next LT Arabic"/>
              </a:rPr>
            </a:br>
            <a:r>
              <a:rPr lang="ar-SA" sz="1000" b="1">
                <a:solidFill>
                  <a:srgbClr val="282560"/>
                </a:solidFill>
                <a:latin typeface="DIN Next LT Arabic"/>
              </a:rPr>
              <a:t>لدعم اتخاذ القرار</a:t>
            </a:r>
          </a:p>
        </p:txBody>
      </p:sp>
      <p:sp>
        <p:nvSpPr>
          <p:cNvPr id="204" name="Rectangle: Rounded Corners 203">
            <a:extLst>
              <a:ext uri="{FF2B5EF4-FFF2-40B4-BE49-F238E27FC236}">
                <a16:creationId xmlns:a16="http://schemas.microsoft.com/office/drawing/2014/main" id="{1B4B80FC-C1FC-4635-9F61-194492002245}"/>
              </a:ext>
            </a:extLst>
          </p:cNvPr>
          <p:cNvSpPr/>
          <p:nvPr/>
        </p:nvSpPr>
        <p:spPr>
          <a:xfrm flipH="1">
            <a:off x="8892590" y="2565109"/>
            <a:ext cx="2184037" cy="885834"/>
          </a:xfrm>
          <a:prstGeom prst="roundRect">
            <a:avLst>
              <a:gd name="adj" fmla="val 0"/>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100" b="1" i="0" u="none" strike="noStrike" cap="none" normalizeH="0" baseline="0" noProof="0">
                <a:ln>
                  <a:noFill/>
                </a:ln>
                <a:solidFill>
                  <a:srgbClr val="282560"/>
                </a:solidFill>
                <a:effectLst/>
                <a:uLnTx/>
                <a:uFillTx/>
                <a:latin typeface="DIN Next LT Arabic"/>
                <a:ea typeface="+mn-ea"/>
                <a:cs typeface="+mn-cs"/>
              </a:rPr>
              <a:t>مصادقة المستخدم</a:t>
            </a:r>
          </a:p>
          <a:p>
            <a:pPr algn="r" rtl="1"/>
            <a:r>
              <a:rPr lang="ar-SA" sz="1000">
                <a:solidFill>
                  <a:schemeClr val="tx1"/>
                </a:solidFill>
              </a:rPr>
              <a:t>من خلال اتحاد </a:t>
            </a:r>
            <a:br>
              <a:rPr lang="ar-SA" sz="1000">
                <a:solidFill>
                  <a:schemeClr val="tx1"/>
                </a:solidFill>
              </a:rPr>
            </a:br>
            <a:r>
              <a:rPr lang="ar-SA" sz="1000">
                <a:solidFill>
                  <a:schemeClr val="tx1"/>
                </a:solidFill>
              </a:rPr>
              <a:t>الوصول الأسترالي</a:t>
            </a:r>
          </a:p>
        </p:txBody>
      </p:sp>
      <p:sp>
        <p:nvSpPr>
          <p:cNvPr id="256" name="Rectangle: Rounded Corners 255">
            <a:extLst>
              <a:ext uri="{FF2B5EF4-FFF2-40B4-BE49-F238E27FC236}">
                <a16:creationId xmlns:a16="http://schemas.microsoft.com/office/drawing/2014/main" id="{AEA55868-A07D-4ECA-833F-03BB42109491}"/>
              </a:ext>
            </a:extLst>
          </p:cNvPr>
          <p:cNvSpPr/>
          <p:nvPr/>
        </p:nvSpPr>
        <p:spPr>
          <a:xfrm flipH="1">
            <a:off x="4062663" y="1872134"/>
            <a:ext cx="4001910" cy="2258985"/>
          </a:xfrm>
          <a:prstGeom prst="roundRect">
            <a:avLst>
              <a:gd name="adj" fmla="val 0"/>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pic>
        <p:nvPicPr>
          <p:cNvPr id="259" name="Picture 258">
            <a:extLst>
              <a:ext uri="{FF2B5EF4-FFF2-40B4-BE49-F238E27FC236}">
                <a16:creationId xmlns:a16="http://schemas.microsoft.com/office/drawing/2014/main" id="{CAF4A423-8104-4BF6-8F59-7921ACA886E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flipH="1">
            <a:off x="4149797" y="2175862"/>
            <a:ext cx="3828254" cy="1889662"/>
          </a:xfrm>
          <a:prstGeom prst="rect">
            <a:avLst/>
          </a:prstGeom>
          <a:ln>
            <a:solidFill>
              <a:schemeClr val="bg1">
                <a:lumMod val="85000"/>
              </a:schemeClr>
            </a:solidFill>
          </a:ln>
        </p:spPr>
      </p:pic>
      <p:sp>
        <p:nvSpPr>
          <p:cNvPr id="262" name="Rectangle: Rounded Corners 261">
            <a:extLst>
              <a:ext uri="{FF2B5EF4-FFF2-40B4-BE49-F238E27FC236}">
                <a16:creationId xmlns:a16="http://schemas.microsoft.com/office/drawing/2014/main" id="{C6A204C4-44C8-45F3-AF95-3E6E51EC8981}"/>
              </a:ext>
            </a:extLst>
          </p:cNvPr>
          <p:cNvSpPr/>
          <p:nvPr/>
        </p:nvSpPr>
        <p:spPr>
          <a:xfrm flipH="1">
            <a:off x="10175399" y="5566438"/>
            <a:ext cx="1337033" cy="387564"/>
          </a:xfrm>
          <a:prstGeom prst="roundRect">
            <a:avLst>
              <a:gd name="adj" fmla="val 0"/>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b="1">
                <a:solidFill>
                  <a:srgbClr val="282560"/>
                </a:solidFill>
                <a:latin typeface="DIN Next LT Arabic"/>
              </a:rPr>
              <a:t>هيئة </a:t>
            </a:r>
            <a:br>
              <a:rPr lang="ar-EG" sz="1000" b="1">
                <a:solidFill>
                  <a:srgbClr val="282560"/>
                </a:solidFill>
                <a:latin typeface="DIN Next LT Arabic"/>
              </a:rPr>
            </a:br>
            <a:r>
              <a:rPr lang="ar-SA" sz="1000" b="1">
                <a:solidFill>
                  <a:srgbClr val="282560"/>
                </a:solidFill>
                <a:latin typeface="DIN Next LT Arabic"/>
              </a:rPr>
              <a:t>الإحصاء الأسترالية</a:t>
            </a:r>
          </a:p>
        </p:txBody>
      </p:sp>
      <p:sp>
        <p:nvSpPr>
          <p:cNvPr id="263" name="Rectangle: Rounded Corners 262">
            <a:extLst>
              <a:ext uri="{FF2B5EF4-FFF2-40B4-BE49-F238E27FC236}">
                <a16:creationId xmlns:a16="http://schemas.microsoft.com/office/drawing/2014/main" id="{6B8D862A-1232-4D44-82D8-F7B1CF2DBBD8}"/>
              </a:ext>
            </a:extLst>
          </p:cNvPr>
          <p:cNvSpPr/>
          <p:nvPr/>
        </p:nvSpPr>
        <p:spPr>
          <a:xfrm flipH="1">
            <a:off x="8726811" y="5566438"/>
            <a:ext cx="1337033" cy="387564"/>
          </a:xfrm>
          <a:prstGeom prst="roundRect">
            <a:avLst>
              <a:gd name="adj" fmla="val 0"/>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b="1">
                <a:solidFill>
                  <a:srgbClr val="282560"/>
                </a:solidFill>
                <a:latin typeface="DIN Next LT Arabic"/>
              </a:rPr>
              <a:t>هيئة </a:t>
            </a:r>
            <a:br>
              <a:rPr lang="ar-EG" sz="1000" b="1">
                <a:solidFill>
                  <a:srgbClr val="282560"/>
                </a:solidFill>
                <a:latin typeface="DIN Next LT Arabic"/>
              </a:rPr>
            </a:br>
            <a:r>
              <a:rPr lang="ar-SA" sz="1000" b="1">
                <a:solidFill>
                  <a:srgbClr val="282560"/>
                </a:solidFill>
                <a:latin typeface="DIN Next LT Arabic"/>
              </a:rPr>
              <a:t>علوم الأرض الأسترالية</a:t>
            </a:r>
          </a:p>
        </p:txBody>
      </p:sp>
      <p:sp>
        <p:nvSpPr>
          <p:cNvPr id="264" name="Rectangle: Rounded Corners 263">
            <a:extLst>
              <a:ext uri="{FF2B5EF4-FFF2-40B4-BE49-F238E27FC236}">
                <a16:creationId xmlns:a16="http://schemas.microsoft.com/office/drawing/2014/main" id="{CBCAC805-8042-4074-B051-1C9E7EC813F7}"/>
              </a:ext>
            </a:extLst>
          </p:cNvPr>
          <p:cNvSpPr/>
          <p:nvPr/>
        </p:nvSpPr>
        <p:spPr>
          <a:xfrm flipH="1">
            <a:off x="7278223" y="5566438"/>
            <a:ext cx="1337033" cy="387564"/>
          </a:xfrm>
          <a:prstGeom prst="roundRect">
            <a:avLst>
              <a:gd name="adj" fmla="val 0"/>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b="1">
                <a:solidFill>
                  <a:srgbClr val="282560"/>
                </a:solidFill>
                <a:latin typeface="DIN Next LT Arabic"/>
              </a:rPr>
              <a:t>وكالة رسم الخرائط </a:t>
            </a:r>
            <a:br>
              <a:rPr lang="ar-EG" sz="1000" b="1">
                <a:solidFill>
                  <a:srgbClr val="282560"/>
                </a:solidFill>
                <a:latin typeface="DIN Next LT Arabic"/>
              </a:rPr>
            </a:br>
            <a:r>
              <a:rPr lang="ar-SA" sz="1000" b="1">
                <a:solidFill>
                  <a:srgbClr val="282560"/>
                </a:solidFill>
                <a:latin typeface="DIN Next LT Arabic"/>
              </a:rPr>
              <a:t>في القطاع العام</a:t>
            </a:r>
          </a:p>
        </p:txBody>
      </p:sp>
      <p:sp>
        <p:nvSpPr>
          <p:cNvPr id="286" name="Rectangle: Rounded Corners 285">
            <a:extLst>
              <a:ext uri="{FF2B5EF4-FFF2-40B4-BE49-F238E27FC236}">
                <a16:creationId xmlns:a16="http://schemas.microsoft.com/office/drawing/2014/main" id="{02C6A439-347C-4333-BDB4-5BAC782B8E75}"/>
              </a:ext>
            </a:extLst>
          </p:cNvPr>
          <p:cNvSpPr/>
          <p:nvPr/>
        </p:nvSpPr>
        <p:spPr>
          <a:xfrm flipH="1">
            <a:off x="5829635" y="5566438"/>
            <a:ext cx="1337033" cy="387564"/>
          </a:xfrm>
          <a:prstGeom prst="roundRect">
            <a:avLst>
              <a:gd name="adj" fmla="val 0"/>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b="1">
                <a:solidFill>
                  <a:srgbClr val="282560"/>
                </a:solidFill>
                <a:latin typeface="DIN Next LT Arabic"/>
              </a:rPr>
              <a:t>منصات متابعة الممتلكات الأسترالية</a:t>
            </a:r>
          </a:p>
        </p:txBody>
      </p:sp>
      <p:sp>
        <p:nvSpPr>
          <p:cNvPr id="287" name="Rectangle: Rounded Corners 286">
            <a:extLst>
              <a:ext uri="{FF2B5EF4-FFF2-40B4-BE49-F238E27FC236}">
                <a16:creationId xmlns:a16="http://schemas.microsoft.com/office/drawing/2014/main" id="{5331606A-124A-4B23-8DF7-FA0E93E60AF0}"/>
              </a:ext>
            </a:extLst>
          </p:cNvPr>
          <p:cNvSpPr/>
          <p:nvPr/>
        </p:nvSpPr>
        <p:spPr>
          <a:xfrm flipH="1">
            <a:off x="3993788" y="5566438"/>
            <a:ext cx="1337033" cy="387564"/>
          </a:xfrm>
          <a:prstGeom prst="roundRect">
            <a:avLst>
              <a:gd name="adj" fmla="val 0"/>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b="1">
                <a:solidFill>
                  <a:srgbClr val="282560"/>
                </a:solidFill>
                <a:latin typeface="DIN Next LT Arabic"/>
              </a:rPr>
              <a:t> التحليل </a:t>
            </a:r>
            <a:br>
              <a:rPr lang="ar-EG" sz="1000" b="1">
                <a:solidFill>
                  <a:srgbClr val="282560"/>
                </a:solidFill>
                <a:latin typeface="DIN Next LT Arabic"/>
              </a:rPr>
            </a:br>
            <a:r>
              <a:rPr lang="ar-SA" sz="1000" b="1">
                <a:solidFill>
                  <a:srgbClr val="282560"/>
                </a:solidFill>
                <a:latin typeface="DIN Next LT Arabic"/>
              </a:rPr>
              <a:t>الإحصائي</a:t>
            </a:r>
          </a:p>
        </p:txBody>
      </p:sp>
      <p:sp>
        <p:nvSpPr>
          <p:cNvPr id="288" name="Rectangle: Rounded Corners 287">
            <a:extLst>
              <a:ext uri="{FF2B5EF4-FFF2-40B4-BE49-F238E27FC236}">
                <a16:creationId xmlns:a16="http://schemas.microsoft.com/office/drawing/2014/main" id="{98904B28-EAEB-4130-B579-AC610BD14A98}"/>
              </a:ext>
            </a:extLst>
          </p:cNvPr>
          <p:cNvSpPr/>
          <p:nvPr/>
        </p:nvSpPr>
        <p:spPr>
          <a:xfrm flipH="1">
            <a:off x="2545200" y="5566438"/>
            <a:ext cx="1337033" cy="387564"/>
          </a:xfrm>
          <a:prstGeom prst="roundRect">
            <a:avLst>
              <a:gd name="adj" fmla="val 0"/>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1000" b="1">
                <a:solidFill>
                  <a:srgbClr val="282560"/>
                </a:solidFill>
                <a:latin typeface="DIN Next LT Arabic"/>
              </a:rPr>
              <a:t> المحاكاة </a:t>
            </a:r>
            <a:br>
              <a:rPr lang="ar-EG" sz="1000" b="1">
                <a:solidFill>
                  <a:srgbClr val="282560"/>
                </a:solidFill>
                <a:latin typeface="DIN Next LT Arabic"/>
              </a:rPr>
            </a:br>
            <a:r>
              <a:rPr lang="ar-SA" sz="1000" b="1">
                <a:solidFill>
                  <a:srgbClr val="282560"/>
                </a:solidFill>
                <a:latin typeface="DIN Next LT Arabic"/>
              </a:rPr>
              <a:t>والنمذجة</a:t>
            </a:r>
          </a:p>
        </p:txBody>
      </p:sp>
      <p:sp>
        <p:nvSpPr>
          <p:cNvPr id="289" name="TextBox 288">
            <a:extLst>
              <a:ext uri="{FF2B5EF4-FFF2-40B4-BE49-F238E27FC236}">
                <a16:creationId xmlns:a16="http://schemas.microsoft.com/office/drawing/2014/main" id="{257D0411-BCA2-471A-A21A-7786F4F01D98}"/>
              </a:ext>
            </a:extLst>
          </p:cNvPr>
          <p:cNvSpPr txBox="1"/>
          <p:nvPr/>
        </p:nvSpPr>
        <p:spPr>
          <a:xfrm flipH="1">
            <a:off x="5117468" y="1885026"/>
            <a:ext cx="1892299" cy="276999"/>
          </a:xfrm>
          <a:prstGeom prst="rect">
            <a:avLst/>
          </a:prstGeom>
          <a:noFill/>
        </p:spPr>
        <p:txBody>
          <a:bodyPr wrap="square">
            <a:spAutoFit/>
          </a:bodyPr>
          <a:lstStyle/>
          <a:p>
            <a:pPr algn="ctr" rtl="1"/>
            <a:r>
              <a:rPr lang="ar-SA" sz="1200" b="1"/>
              <a:t>بوابة الشبكة</a:t>
            </a:r>
          </a:p>
        </p:txBody>
      </p:sp>
      <p:grpSp>
        <p:nvGrpSpPr>
          <p:cNvPr id="380" name="Group 379">
            <a:extLst>
              <a:ext uri="{FF2B5EF4-FFF2-40B4-BE49-F238E27FC236}">
                <a16:creationId xmlns:a16="http://schemas.microsoft.com/office/drawing/2014/main" id="{B31AFDEC-C7A0-46B3-8933-C4E60AE4BEA5}"/>
              </a:ext>
            </a:extLst>
          </p:cNvPr>
          <p:cNvGrpSpPr/>
          <p:nvPr/>
        </p:nvGrpSpPr>
        <p:grpSpPr>
          <a:xfrm flipH="1">
            <a:off x="6215045" y="4585448"/>
            <a:ext cx="572383" cy="455796"/>
            <a:chOff x="10605305" y="4368805"/>
            <a:chExt cx="776288" cy="618169"/>
          </a:xfrm>
        </p:grpSpPr>
        <p:grpSp>
          <p:nvGrpSpPr>
            <p:cNvPr id="381" name="Group 380">
              <a:extLst>
                <a:ext uri="{FF2B5EF4-FFF2-40B4-BE49-F238E27FC236}">
                  <a16:creationId xmlns:a16="http://schemas.microsoft.com/office/drawing/2014/main" id="{A0DCB9FE-A895-42B2-9E9F-4A130DF5F3E3}"/>
                </a:ext>
              </a:extLst>
            </p:cNvPr>
            <p:cNvGrpSpPr/>
            <p:nvPr/>
          </p:nvGrpSpPr>
          <p:grpSpPr>
            <a:xfrm>
              <a:off x="10887462" y="4492843"/>
              <a:ext cx="494131" cy="494131"/>
              <a:chOff x="-1489519" y="4779814"/>
              <a:chExt cx="876300" cy="876300"/>
            </a:xfrm>
          </p:grpSpPr>
          <p:sp>
            <p:nvSpPr>
              <p:cNvPr id="384" name="Oval 383">
                <a:extLst>
                  <a:ext uri="{FF2B5EF4-FFF2-40B4-BE49-F238E27FC236}">
                    <a16:creationId xmlns:a16="http://schemas.microsoft.com/office/drawing/2014/main" id="{8862CFC2-0442-4C60-99AE-49D0E218A570}"/>
                  </a:ext>
                </a:extLst>
              </p:cNvPr>
              <p:cNvSpPr/>
              <p:nvPr/>
            </p:nvSpPr>
            <p:spPr>
              <a:xfrm>
                <a:off x="-1482091" y="4781720"/>
                <a:ext cx="861061" cy="861061"/>
              </a:xfrm>
              <a:prstGeom prst="ellipse">
                <a:avLst/>
              </a:prstGeom>
              <a:solidFill>
                <a:srgbClr val="A1E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grpSp>
            <p:nvGrpSpPr>
              <p:cNvPr id="385" name="Group 384">
                <a:extLst>
                  <a:ext uri="{FF2B5EF4-FFF2-40B4-BE49-F238E27FC236}">
                    <a16:creationId xmlns:a16="http://schemas.microsoft.com/office/drawing/2014/main" id="{6F188EFA-6880-4314-8DB1-4023BDA51BAF}"/>
                  </a:ext>
                </a:extLst>
              </p:cNvPr>
              <p:cNvGrpSpPr/>
              <p:nvPr/>
            </p:nvGrpSpPr>
            <p:grpSpPr>
              <a:xfrm>
                <a:off x="-1489519" y="4779814"/>
                <a:ext cx="876300" cy="876300"/>
                <a:chOff x="-1489519" y="4779814"/>
                <a:chExt cx="876300" cy="876300"/>
              </a:xfrm>
              <a:solidFill>
                <a:schemeClr val="tx2"/>
              </a:solidFill>
            </p:grpSpPr>
            <p:sp>
              <p:nvSpPr>
                <p:cNvPr id="386" name="Freeform: Shape 385">
                  <a:extLst>
                    <a:ext uri="{FF2B5EF4-FFF2-40B4-BE49-F238E27FC236}">
                      <a16:creationId xmlns:a16="http://schemas.microsoft.com/office/drawing/2014/main" id="{4505D8C6-4059-4B49-8BAD-2BCF12F9F815}"/>
                    </a:ext>
                  </a:extLst>
                </p:cNvPr>
                <p:cNvSpPr/>
                <p:nvPr/>
              </p:nvSpPr>
              <p:spPr>
                <a:xfrm>
                  <a:off x="-1489519" y="4779814"/>
                  <a:ext cx="876300" cy="876300"/>
                </a:xfrm>
                <a:custGeom>
                  <a:avLst/>
                  <a:gdLst>
                    <a:gd name="connsiteX0" fmla="*/ 438150 w 876300"/>
                    <a:gd name="connsiteY0" fmla="*/ 0 h 876300"/>
                    <a:gd name="connsiteX1" fmla="*/ 0 w 876300"/>
                    <a:gd name="connsiteY1" fmla="*/ 438150 h 876300"/>
                    <a:gd name="connsiteX2" fmla="*/ 438150 w 876300"/>
                    <a:gd name="connsiteY2" fmla="*/ 876300 h 876300"/>
                    <a:gd name="connsiteX3" fmla="*/ 876300 w 876300"/>
                    <a:gd name="connsiteY3" fmla="*/ 438150 h 876300"/>
                    <a:gd name="connsiteX4" fmla="*/ 438150 w 876300"/>
                    <a:gd name="connsiteY4" fmla="*/ 0 h 876300"/>
                    <a:gd name="connsiteX5" fmla="*/ 503777 w 876300"/>
                    <a:gd name="connsiteY5" fmla="*/ 832676 h 876300"/>
                    <a:gd name="connsiteX6" fmla="*/ 275844 w 876300"/>
                    <a:gd name="connsiteY6" fmla="*/ 804101 h 876300"/>
                    <a:gd name="connsiteX7" fmla="*/ 175927 w 876300"/>
                    <a:gd name="connsiteY7" fmla="*/ 740378 h 876300"/>
                    <a:gd name="connsiteX8" fmla="*/ 175927 w 876300"/>
                    <a:gd name="connsiteY8" fmla="*/ 740378 h 876300"/>
                    <a:gd name="connsiteX9" fmla="*/ 177546 w 876300"/>
                    <a:gd name="connsiteY9" fmla="*/ 645128 h 876300"/>
                    <a:gd name="connsiteX10" fmla="*/ 183451 w 876300"/>
                    <a:gd name="connsiteY10" fmla="*/ 626745 h 876300"/>
                    <a:gd name="connsiteX11" fmla="*/ 192976 w 876300"/>
                    <a:gd name="connsiteY11" fmla="*/ 581311 h 876300"/>
                    <a:gd name="connsiteX12" fmla="*/ 147352 w 876300"/>
                    <a:gd name="connsiteY12" fmla="*/ 512064 h 876300"/>
                    <a:gd name="connsiteX13" fmla="*/ 114300 w 876300"/>
                    <a:gd name="connsiteY13" fmla="*/ 468725 h 876300"/>
                    <a:gd name="connsiteX14" fmla="*/ 113729 w 876300"/>
                    <a:gd name="connsiteY14" fmla="*/ 411575 h 876300"/>
                    <a:gd name="connsiteX15" fmla="*/ 113729 w 876300"/>
                    <a:gd name="connsiteY15" fmla="*/ 409385 h 876300"/>
                    <a:gd name="connsiteX16" fmla="*/ 47054 w 876300"/>
                    <a:gd name="connsiteY16" fmla="*/ 356997 h 876300"/>
                    <a:gd name="connsiteX17" fmla="*/ 70676 w 876300"/>
                    <a:gd name="connsiteY17" fmla="*/ 281654 h 876300"/>
                    <a:gd name="connsiteX18" fmla="*/ 177641 w 876300"/>
                    <a:gd name="connsiteY18" fmla="*/ 217075 h 876300"/>
                    <a:gd name="connsiteX19" fmla="*/ 238030 w 876300"/>
                    <a:gd name="connsiteY19" fmla="*/ 133160 h 876300"/>
                    <a:gd name="connsiteX20" fmla="*/ 236601 w 876300"/>
                    <a:gd name="connsiteY20" fmla="*/ 93059 h 876300"/>
                    <a:gd name="connsiteX21" fmla="*/ 357283 w 876300"/>
                    <a:gd name="connsiteY21" fmla="*/ 46292 h 876300"/>
                    <a:gd name="connsiteX22" fmla="*/ 355378 w 876300"/>
                    <a:gd name="connsiteY22" fmla="*/ 49816 h 876300"/>
                    <a:gd name="connsiteX23" fmla="*/ 327470 w 876300"/>
                    <a:gd name="connsiteY23" fmla="*/ 66104 h 876300"/>
                    <a:gd name="connsiteX24" fmla="*/ 285750 w 876300"/>
                    <a:gd name="connsiteY24" fmla="*/ 87535 h 876300"/>
                    <a:gd name="connsiteX25" fmla="*/ 272987 w 876300"/>
                    <a:gd name="connsiteY25" fmla="*/ 120110 h 876300"/>
                    <a:gd name="connsiteX26" fmla="*/ 287750 w 876300"/>
                    <a:gd name="connsiteY26" fmla="*/ 150971 h 876300"/>
                    <a:gd name="connsiteX27" fmla="*/ 317849 w 876300"/>
                    <a:gd name="connsiteY27" fmla="*/ 161925 h 876300"/>
                    <a:gd name="connsiteX28" fmla="*/ 355949 w 876300"/>
                    <a:gd name="connsiteY28" fmla="*/ 151543 h 876300"/>
                    <a:gd name="connsiteX29" fmla="*/ 391859 w 876300"/>
                    <a:gd name="connsiteY29" fmla="*/ 130207 h 876300"/>
                    <a:gd name="connsiteX30" fmla="*/ 442055 w 876300"/>
                    <a:gd name="connsiteY30" fmla="*/ 114776 h 876300"/>
                    <a:gd name="connsiteX31" fmla="*/ 525399 w 876300"/>
                    <a:gd name="connsiteY31" fmla="*/ 48101 h 876300"/>
                    <a:gd name="connsiteX32" fmla="*/ 525399 w 876300"/>
                    <a:gd name="connsiteY32" fmla="*/ 48101 h 876300"/>
                    <a:gd name="connsiteX33" fmla="*/ 561975 w 876300"/>
                    <a:gd name="connsiteY33" fmla="*/ 58198 h 876300"/>
                    <a:gd name="connsiteX34" fmla="*/ 555117 w 876300"/>
                    <a:gd name="connsiteY34" fmla="*/ 84582 h 876300"/>
                    <a:gd name="connsiteX35" fmla="*/ 553974 w 876300"/>
                    <a:gd name="connsiteY35" fmla="*/ 90392 h 876300"/>
                    <a:gd name="connsiteX36" fmla="*/ 518922 w 876300"/>
                    <a:gd name="connsiteY36" fmla="*/ 122111 h 876300"/>
                    <a:gd name="connsiteX37" fmla="*/ 418719 w 876300"/>
                    <a:gd name="connsiteY37" fmla="*/ 167069 h 876300"/>
                    <a:gd name="connsiteX38" fmla="*/ 418719 w 876300"/>
                    <a:gd name="connsiteY38" fmla="*/ 167069 h 876300"/>
                    <a:gd name="connsiteX39" fmla="*/ 418719 w 876300"/>
                    <a:gd name="connsiteY39" fmla="*/ 170021 h 876300"/>
                    <a:gd name="connsiteX40" fmla="*/ 412051 w 876300"/>
                    <a:gd name="connsiteY40" fmla="*/ 195739 h 876300"/>
                    <a:gd name="connsiteX41" fmla="*/ 398336 w 876300"/>
                    <a:gd name="connsiteY41" fmla="*/ 205264 h 876300"/>
                    <a:gd name="connsiteX42" fmla="*/ 390906 w 876300"/>
                    <a:gd name="connsiteY42" fmla="*/ 209836 h 876300"/>
                    <a:gd name="connsiteX43" fmla="*/ 329279 w 876300"/>
                    <a:gd name="connsiteY43" fmla="*/ 280035 h 876300"/>
                    <a:gd name="connsiteX44" fmla="*/ 415862 w 876300"/>
                    <a:gd name="connsiteY44" fmla="*/ 294989 h 876300"/>
                    <a:gd name="connsiteX45" fmla="*/ 551498 w 876300"/>
                    <a:gd name="connsiteY45" fmla="*/ 304514 h 876300"/>
                    <a:gd name="connsiteX46" fmla="*/ 556736 w 876300"/>
                    <a:gd name="connsiteY46" fmla="*/ 320897 h 876300"/>
                    <a:gd name="connsiteX47" fmla="*/ 532162 w 876300"/>
                    <a:gd name="connsiteY47" fmla="*/ 327374 h 876300"/>
                    <a:gd name="connsiteX48" fmla="*/ 530638 w 876300"/>
                    <a:gd name="connsiteY48" fmla="*/ 327374 h 876300"/>
                    <a:gd name="connsiteX49" fmla="*/ 471869 w 876300"/>
                    <a:gd name="connsiteY49" fmla="*/ 322136 h 876300"/>
                    <a:gd name="connsiteX50" fmla="*/ 345091 w 876300"/>
                    <a:gd name="connsiteY50" fmla="*/ 309658 h 876300"/>
                    <a:gd name="connsiteX51" fmla="*/ 248793 w 876300"/>
                    <a:gd name="connsiteY51" fmla="*/ 420910 h 876300"/>
                    <a:gd name="connsiteX52" fmla="*/ 301466 w 876300"/>
                    <a:gd name="connsiteY52" fmla="*/ 527685 h 876300"/>
                    <a:gd name="connsiteX53" fmla="*/ 305657 w 876300"/>
                    <a:gd name="connsiteY53" fmla="*/ 529685 h 876300"/>
                    <a:gd name="connsiteX54" fmla="*/ 369475 w 876300"/>
                    <a:gd name="connsiteY54" fmla="*/ 545783 h 876300"/>
                    <a:gd name="connsiteX55" fmla="*/ 371666 w 876300"/>
                    <a:gd name="connsiteY55" fmla="*/ 545783 h 876300"/>
                    <a:gd name="connsiteX56" fmla="*/ 416624 w 876300"/>
                    <a:gd name="connsiteY56" fmla="*/ 552926 h 876300"/>
                    <a:gd name="connsiteX57" fmla="*/ 423577 w 876300"/>
                    <a:gd name="connsiteY57" fmla="*/ 580644 h 876300"/>
                    <a:gd name="connsiteX58" fmla="*/ 432340 w 876300"/>
                    <a:gd name="connsiteY58" fmla="*/ 614839 h 876300"/>
                    <a:gd name="connsiteX59" fmla="*/ 436531 w 876300"/>
                    <a:gd name="connsiteY59" fmla="*/ 624364 h 876300"/>
                    <a:gd name="connsiteX60" fmla="*/ 440246 w 876300"/>
                    <a:gd name="connsiteY60" fmla="*/ 655892 h 876300"/>
                    <a:gd name="connsiteX61" fmla="*/ 443389 w 876300"/>
                    <a:gd name="connsiteY61" fmla="*/ 689038 h 876300"/>
                    <a:gd name="connsiteX62" fmla="*/ 475202 w 876300"/>
                    <a:gd name="connsiteY62" fmla="*/ 754285 h 876300"/>
                    <a:gd name="connsiteX63" fmla="*/ 509969 w 876300"/>
                    <a:gd name="connsiteY63" fmla="*/ 769334 h 876300"/>
                    <a:gd name="connsiteX64" fmla="*/ 552450 w 876300"/>
                    <a:gd name="connsiteY64" fmla="*/ 752475 h 876300"/>
                    <a:gd name="connsiteX65" fmla="*/ 602742 w 876300"/>
                    <a:gd name="connsiteY65" fmla="*/ 707422 h 876300"/>
                    <a:gd name="connsiteX66" fmla="*/ 624650 w 876300"/>
                    <a:gd name="connsiteY66" fmla="*/ 668560 h 876300"/>
                    <a:gd name="connsiteX67" fmla="*/ 629793 w 876300"/>
                    <a:gd name="connsiteY67" fmla="*/ 631793 h 876300"/>
                    <a:gd name="connsiteX68" fmla="*/ 635984 w 876300"/>
                    <a:gd name="connsiteY68" fmla="*/ 594360 h 876300"/>
                    <a:gd name="connsiteX69" fmla="*/ 659511 w 876300"/>
                    <a:gd name="connsiteY69" fmla="*/ 557308 h 876300"/>
                    <a:gd name="connsiteX70" fmla="*/ 673989 w 876300"/>
                    <a:gd name="connsiteY70" fmla="*/ 538258 h 876300"/>
                    <a:gd name="connsiteX71" fmla="*/ 684371 w 876300"/>
                    <a:gd name="connsiteY71" fmla="*/ 521494 h 876300"/>
                    <a:gd name="connsiteX72" fmla="*/ 689134 w 876300"/>
                    <a:gd name="connsiteY72" fmla="*/ 513493 h 876300"/>
                    <a:gd name="connsiteX73" fmla="*/ 696373 w 876300"/>
                    <a:gd name="connsiteY73" fmla="*/ 481489 h 876300"/>
                    <a:gd name="connsiteX74" fmla="*/ 678180 w 876300"/>
                    <a:gd name="connsiteY74" fmla="*/ 463677 h 876300"/>
                    <a:gd name="connsiteX75" fmla="*/ 665512 w 876300"/>
                    <a:gd name="connsiteY75" fmla="*/ 459200 h 876300"/>
                    <a:gd name="connsiteX76" fmla="*/ 643509 w 876300"/>
                    <a:gd name="connsiteY76" fmla="*/ 448913 h 876300"/>
                    <a:gd name="connsiteX77" fmla="*/ 615791 w 876300"/>
                    <a:gd name="connsiteY77" fmla="*/ 402241 h 876300"/>
                    <a:gd name="connsiteX78" fmla="*/ 621125 w 876300"/>
                    <a:gd name="connsiteY78" fmla="*/ 409289 h 876300"/>
                    <a:gd name="connsiteX79" fmla="*/ 628269 w 876300"/>
                    <a:gd name="connsiteY79" fmla="*/ 418814 h 876300"/>
                    <a:gd name="connsiteX80" fmla="*/ 678656 w 876300"/>
                    <a:gd name="connsiteY80" fmla="*/ 437864 h 876300"/>
                    <a:gd name="connsiteX81" fmla="*/ 709803 w 876300"/>
                    <a:gd name="connsiteY81" fmla="*/ 408242 h 876300"/>
                    <a:gd name="connsiteX82" fmla="*/ 712946 w 876300"/>
                    <a:gd name="connsiteY82" fmla="*/ 403098 h 876300"/>
                    <a:gd name="connsiteX83" fmla="*/ 724662 w 876300"/>
                    <a:gd name="connsiteY83" fmla="*/ 359283 h 876300"/>
                    <a:gd name="connsiteX84" fmla="*/ 723043 w 876300"/>
                    <a:gd name="connsiteY84" fmla="*/ 354330 h 876300"/>
                    <a:gd name="connsiteX85" fmla="*/ 748856 w 876300"/>
                    <a:gd name="connsiteY85" fmla="*/ 379000 h 876300"/>
                    <a:gd name="connsiteX86" fmla="*/ 751142 w 876300"/>
                    <a:gd name="connsiteY86" fmla="*/ 383572 h 876300"/>
                    <a:gd name="connsiteX87" fmla="*/ 791528 w 876300"/>
                    <a:gd name="connsiteY87" fmla="*/ 417481 h 876300"/>
                    <a:gd name="connsiteX88" fmla="*/ 827627 w 876300"/>
                    <a:gd name="connsiteY88" fmla="*/ 366427 h 876300"/>
                    <a:gd name="connsiteX89" fmla="*/ 829818 w 876300"/>
                    <a:gd name="connsiteY89" fmla="*/ 358140 h 876300"/>
                    <a:gd name="connsiteX90" fmla="*/ 518296 w 876300"/>
                    <a:gd name="connsiteY90" fmla="*/ 830409 h 876300"/>
                    <a:gd name="connsiteX91" fmla="*/ 503492 w 876300"/>
                    <a:gd name="connsiteY91" fmla="*/ 833152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76300" h="876300">
                      <a:moveTo>
                        <a:pt x="438150" y="0"/>
                      </a:moveTo>
                      <a:cubicBezTo>
                        <a:pt x="196166" y="0"/>
                        <a:pt x="0" y="196166"/>
                        <a:pt x="0" y="438150"/>
                      </a:cubicBezTo>
                      <a:cubicBezTo>
                        <a:pt x="0" y="680134"/>
                        <a:pt x="196166" y="876300"/>
                        <a:pt x="438150" y="876300"/>
                      </a:cubicBezTo>
                      <a:cubicBezTo>
                        <a:pt x="680134" y="876300"/>
                        <a:pt x="876300" y="680134"/>
                        <a:pt x="876300" y="438150"/>
                      </a:cubicBezTo>
                      <a:cubicBezTo>
                        <a:pt x="876033" y="196275"/>
                        <a:pt x="680025" y="263"/>
                        <a:pt x="438150" y="0"/>
                      </a:cubicBezTo>
                      <a:close/>
                      <a:moveTo>
                        <a:pt x="503777" y="832676"/>
                      </a:moveTo>
                      <a:cubicBezTo>
                        <a:pt x="427577" y="745427"/>
                        <a:pt x="326326" y="772763"/>
                        <a:pt x="275844" y="804101"/>
                      </a:cubicBezTo>
                      <a:cubicBezTo>
                        <a:pt x="239565" y="787927"/>
                        <a:pt x="205891" y="766451"/>
                        <a:pt x="175927" y="740378"/>
                      </a:cubicBezTo>
                      <a:lnTo>
                        <a:pt x="175927" y="740378"/>
                      </a:lnTo>
                      <a:cubicBezTo>
                        <a:pt x="171355" y="726186"/>
                        <a:pt x="174879" y="657987"/>
                        <a:pt x="177546" y="645128"/>
                      </a:cubicBezTo>
                      <a:cubicBezTo>
                        <a:pt x="179090" y="638872"/>
                        <a:pt x="181064" y="632730"/>
                        <a:pt x="183451" y="626745"/>
                      </a:cubicBezTo>
                      <a:cubicBezTo>
                        <a:pt x="189944" y="612490"/>
                        <a:pt x="193197" y="596974"/>
                        <a:pt x="192976" y="581311"/>
                      </a:cubicBezTo>
                      <a:cubicBezTo>
                        <a:pt x="190500" y="548545"/>
                        <a:pt x="167545" y="529209"/>
                        <a:pt x="147352" y="512064"/>
                      </a:cubicBezTo>
                      <a:cubicBezTo>
                        <a:pt x="130207" y="497681"/>
                        <a:pt x="115919" y="485775"/>
                        <a:pt x="114300" y="468725"/>
                      </a:cubicBezTo>
                      <a:cubicBezTo>
                        <a:pt x="112239" y="449740"/>
                        <a:pt x="112047" y="430598"/>
                        <a:pt x="113729" y="411575"/>
                      </a:cubicBezTo>
                      <a:cubicBezTo>
                        <a:pt x="113767" y="410846"/>
                        <a:pt x="113767" y="410114"/>
                        <a:pt x="113729" y="409385"/>
                      </a:cubicBezTo>
                      <a:cubicBezTo>
                        <a:pt x="112586" y="372142"/>
                        <a:pt x="73057" y="359188"/>
                        <a:pt x="47054" y="356997"/>
                      </a:cubicBezTo>
                      <a:cubicBezTo>
                        <a:pt x="52403" y="331159"/>
                        <a:pt x="60315" y="305920"/>
                        <a:pt x="70676" y="281654"/>
                      </a:cubicBezTo>
                      <a:cubicBezTo>
                        <a:pt x="104531" y="257279"/>
                        <a:pt x="140303" y="235682"/>
                        <a:pt x="177641" y="217075"/>
                      </a:cubicBezTo>
                      <a:cubicBezTo>
                        <a:pt x="207836" y="203740"/>
                        <a:pt x="232029" y="163925"/>
                        <a:pt x="238030" y="133160"/>
                      </a:cubicBezTo>
                      <a:cubicBezTo>
                        <a:pt x="240479" y="119848"/>
                        <a:pt x="239991" y="106163"/>
                        <a:pt x="236601" y="93059"/>
                      </a:cubicBezTo>
                      <a:cubicBezTo>
                        <a:pt x="274004" y="70983"/>
                        <a:pt x="314771" y="55184"/>
                        <a:pt x="357283" y="46292"/>
                      </a:cubicBezTo>
                      <a:cubicBezTo>
                        <a:pt x="356544" y="47407"/>
                        <a:pt x="355906" y="48586"/>
                        <a:pt x="355378" y="49816"/>
                      </a:cubicBezTo>
                      <a:cubicBezTo>
                        <a:pt x="352044" y="57817"/>
                        <a:pt x="344329" y="60960"/>
                        <a:pt x="327470" y="66104"/>
                      </a:cubicBezTo>
                      <a:cubicBezTo>
                        <a:pt x="311946" y="69523"/>
                        <a:pt x="297571" y="76907"/>
                        <a:pt x="285750" y="87535"/>
                      </a:cubicBezTo>
                      <a:cubicBezTo>
                        <a:pt x="277224" y="96194"/>
                        <a:pt x="272613" y="107964"/>
                        <a:pt x="272987" y="120110"/>
                      </a:cubicBezTo>
                      <a:cubicBezTo>
                        <a:pt x="273411" y="132000"/>
                        <a:pt x="278759" y="143179"/>
                        <a:pt x="287750" y="150971"/>
                      </a:cubicBezTo>
                      <a:cubicBezTo>
                        <a:pt x="296066" y="158249"/>
                        <a:pt x="306801" y="162156"/>
                        <a:pt x="317849" y="161925"/>
                      </a:cubicBezTo>
                      <a:cubicBezTo>
                        <a:pt x="331162" y="161334"/>
                        <a:pt x="344176" y="157787"/>
                        <a:pt x="355949" y="151543"/>
                      </a:cubicBezTo>
                      <a:cubicBezTo>
                        <a:pt x="368442" y="145351"/>
                        <a:pt x="380447" y="138218"/>
                        <a:pt x="391859" y="130207"/>
                      </a:cubicBezTo>
                      <a:cubicBezTo>
                        <a:pt x="400145" y="125444"/>
                        <a:pt x="424815" y="113633"/>
                        <a:pt x="442055" y="114776"/>
                      </a:cubicBezTo>
                      <a:cubicBezTo>
                        <a:pt x="444151" y="114776"/>
                        <a:pt x="495205" y="115348"/>
                        <a:pt x="525399" y="48101"/>
                      </a:cubicBezTo>
                      <a:lnTo>
                        <a:pt x="525399" y="48101"/>
                      </a:lnTo>
                      <a:cubicBezTo>
                        <a:pt x="538099" y="50895"/>
                        <a:pt x="550291" y="54261"/>
                        <a:pt x="561975" y="58198"/>
                      </a:cubicBezTo>
                      <a:cubicBezTo>
                        <a:pt x="558854" y="66754"/>
                        <a:pt x="556557" y="75589"/>
                        <a:pt x="555117" y="84582"/>
                      </a:cubicBezTo>
                      <a:lnTo>
                        <a:pt x="553974" y="90392"/>
                      </a:lnTo>
                      <a:cubicBezTo>
                        <a:pt x="549614" y="106981"/>
                        <a:pt x="535862" y="119424"/>
                        <a:pt x="518922" y="122111"/>
                      </a:cubicBezTo>
                      <a:cubicBezTo>
                        <a:pt x="501491" y="120777"/>
                        <a:pt x="424910" y="117634"/>
                        <a:pt x="418719" y="167069"/>
                      </a:cubicBezTo>
                      <a:lnTo>
                        <a:pt x="418719" y="167069"/>
                      </a:lnTo>
                      <a:cubicBezTo>
                        <a:pt x="418669" y="168052"/>
                        <a:pt x="418669" y="169037"/>
                        <a:pt x="418719" y="170021"/>
                      </a:cubicBezTo>
                      <a:cubicBezTo>
                        <a:pt x="419206" y="179077"/>
                        <a:pt x="416876" y="188061"/>
                        <a:pt x="412051" y="195739"/>
                      </a:cubicBezTo>
                      <a:cubicBezTo>
                        <a:pt x="407820" y="199377"/>
                        <a:pt x="403223" y="202569"/>
                        <a:pt x="398336" y="205264"/>
                      </a:cubicBezTo>
                      <a:cubicBezTo>
                        <a:pt x="395573" y="206883"/>
                        <a:pt x="393001" y="208407"/>
                        <a:pt x="390906" y="209836"/>
                      </a:cubicBezTo>
                      <a:cubicBezTo>
                        <a:pt x="342329" y="241364"/>
                        <a:pt x="321945" y="258985"/>
                        <a:pt x="329279" y="280035"/>
                      </a:cubicBezTo>
                      <a:cubicBezTo>
                        <a:pt x="336614" y="301085"/>
                        <a:pt x="364998" y="299752"/>
                        <a:pt x="415862" y="294989"/>
                      </a:cubicBezTo>
                      <a:cubicBezTo>
                        <a:pt x="458915" y="290989"/>
                        <a:pt x="531019" y="284226"/>
                        <a:pt x="551498" y="304514"/>
                      </a:cubicBezTo>
                      <a:cubicBezTo>
                        <a:pt x="555750" y="308831"/>
                        <a:pt x="557695" y="314914"/>
                        <a:pt x="556736" y="320897"/>
                      </a:cubicBezTo>
                      <a:cubicBezTo>
                        <a:pt x="555784" y="324041"/>
                        <a:pt x="548545" y="328327"/>
                        <a:pt x="532162" y="327374"/>
                      </a:cubicBezTo>
                      <a:lnTo>
                        <a:pt x="530638" y="327374"/>
                      </a:lnTo>
                      <a:cubicBezTo>
                        <a:pt x="510934" y="327314"/>
                        <a:pt x="491272" y="325562"/>
                        <a:pt x="471869" y="322136"/>
                      </a:cubicBezTo>
                      <a:cubicBezTo>
                        <a:pt x="436150" y="311277"/>
                        <a:pt x="391668" y="297751"/>
                        <a:pt x="345091" y="309658"/>
                      </a:cubicBezTo>
                      <a:cubicBezTo>
                        <a:pt x="293486" y="323917"/>
                        <a:pt x="255507" y="367794"/>
                        <a:pt x="248793" y="420910"/>
                      </a:cubicBezTo>
                      <a:cubicBezTo>
                        <a:pt x="243650" y="473107"/>
                        <a:pt x="261366" y="509016"/>
                        <a:pt x="301466" y="527685"/>
                      </a:cubicBezTo>
                      <a:lnTo>
                        <a:pt x="305657" y="529685"/>
                      </a:lnTo>
                      <a:cubicBezTo>
                        <a:pt x="324707" y="538544"/>
                        <a:pt x="343757" y="547688"/>
                        <a:pt x="369475" y="545783"/>
                      </a:cubicBezTo>
                      <a:lnTo>
                        <a:pt x="371666" y="545783"/>
                      </a:lnTo>
                      <a:cubicBezTo>
                        <a:pt x="379667" y="544259"/>
                        <a:pt x="405003" y="542258"/>
                        <a:pt x="416624" y="552926"/>
                      </a:cubicBezTo>
                      <a:cubicBezTo>
                        <a:pt x="418814" y="554927"/>
                        <a:pt x="425482" y="561023"/>
                        <a:pt x="423577" y="580644"/>
                      </a:cubicBezTo>
                      <a:cubicBezTo>
                        <a:pt x="422992" y="592665"/>
                        <a:pt x="426046" y="604581"/>
                        <a:pt x="432340" y="614839"/>
                      </a:cubicBezTo>
                      <a:cubicBezTo>
                        <a:pt x="433976" y="617903"/>
                        <a:pt x="435377" y="621087"/>
                        <a:pt x="436531" y="624364"/>
                      </a:cubicBezTo>
                      <a:cubicBezTo>
                        <a:pt x="439179" y="634658"/>
                        <a:pt x="440428" y="645264"/>
                        <a:pt x="440246" y="655892"/>
                      </a:cubicBezTo>
                      <a:cubicBezTo>
                        <a:pt x="440305" y="667012"/>
                        <a:pt x="441356" y="678105"/>
                        <a:pt x="443389" y="689038"/>
                      </a:cubicBezTo>
                      <a:cubicBezTo>
                        <a:pt x="447673" y="713338"/>
                        <a:pt x="458696" y="735944"/>
                        <a:pt x="475202" y="754285"/>
                      </a:cubicBezTo>
                      <a:cubicBezTo>
                        <a:pt x="484211" y="763893"/>
                        <a:pt x="496797" y="769341"/>
                        <a:pt x="509969" y="769334"/>
                      </a:cubicBezTo>
                      <a:cubicBezTo>
                        <a:pt x="525549" y="768318"/>
                        <a:pt x="540413" y="762419"/>
                        <a:pt x="552450" y="752475"/>
                      </a:cubicBezTo>
                      <a:cubicBezTo>
                        <a:pt x="571109" y="739716"/>
                        <a:pt x="588015" y="724570"/>
                        <a:pt x="602742" y="707422"/>
                      </a:cubicBezTo>
                      <a:cubicBezTo>
                        <a:pt x="612827" y="696246"/>
                        <a:pt x="620310" y="682974"/>
                        <a:pt x="624650" y="668560"/>
                      </a:cubicBezTo>
                      <a:cubicBezTo>
                        <a:pt x="627388" y="656470"/>
                        <a:pt x="629108" y="644171"/>
                        <a:pt x="629793" y="631793"/>
                      </a:cubicBezTo>
                      <a:cubicBezTo>
                        <a:pt x="630220" y="619099"/>
                        <a:pt x="632301" y="606515"/>
                        <a:pt x="635984" y="594360"/>
                      </a:cubicBezTo>
                      <a:cubicBezTo>
                        <a:pt x="641842" y="580855"/>
                        <a:pt x="649781" y="568354"/>
                        <a:pt x="659511" y="557308"/>
                      </a:cubicBezTo>
                      <a:cubicBezTo>
                        <a:pt x="664369" y="551117"/>
                        <a:pt x="669036" y="544735"/>
                        <a:pt x="673989" y="538258"/>
                      </a:cubicBezTo>
                      <a:cubicBezTo>
                        <a:pt x="677609" y="532924"/>
                        <a:pt x="681038" y="527209"/>
                        <a:pt x="684371" y="521494"/>
                      </a:cubicBezTo>
                      <a:lnTo>
                        <a:pt x="689134" y="513493"/>
                      </a:lnTo>
                      <a:cubicBezTo>
                        <a:pt x="696330" y="504501"/>
                        <a:pt x="698999" y="492703"/>
                        <a:pt x="696373" y="481489"/>
                      </a:cubicBezTo>
                      <a:cubicBezTo>
                        <a:pt x="693371" y="473069"/>
                        <a:pt x="686662" y="466499"/>
                        <a:pt x="678180" y="463677"/>
                      </a:cubicBezTo>
                      <a:cubicBezTo>
                        <a:pt x="673894" y="461963"/>
                        <a:pt x="669608" y="460629"/>
                        <a:pt x="665512" y="459200"/>
                      </a:cubicBezTo>
                      <a:cubicBezTo>
                        <a:pt x="657585" y="457216"/>
                        <a:pt x="650115" y="453723"/>
                        <a:pt x="643509" y="448913"/>
                      </a:cubicBezTo>
                      <a:cubicBezTo>
                        <a:pt x="629019" y="437142"/>
                        <a:pt x="619194" y="420596"/>
                        <a:pt x="615791" y="402241"/>
                      </a:cubicBezTo>
                      <a:cubicBezTo>
                        <a:pt x="617506" y="404336"/>
                        <a:pt x="619315" y="406813"/>
                        <a:pt x="621125" y="409289"/>
                      </a:cubicBezTo>
                      <a:cubicBezTo>
                        <a:pt x="622935" y="411766"/>
                        <a:pt x="625793" y="415671"/>
                        <a:pt x="628269" y="418814"/>
                      </a:cubicBezTo>
                      <a:cubicBezTo>
                        <a:pt x="642747" y="436245"/>
                        <a:pt x="661130" y="443103"/>
                        <a:pt x="678656" y="437864"/>
                      </a:cubicBezTo>
                      <a:cubicBezTo>
                        <a:pt x="692412" y="432285"/>
                        <a:pt x="703541" y="421700"/>
                        <a:pt x="709803" y="408242"/>
                      </a:cubicBezTo>
                      <a:cubicBezTo>
                        <a:pt x="710851" y="406432"/>
                        <a:pt x="711899" y="404717"/>
                        <a:pt x="712946" y="403098"/>
                      </a:cubicBezTo>
                      <a:cubicBezTo>
                        <a:pt x="723805" y="386334"/>
                        <a:pt x="727615" y="371951"/>
                        <a:pt x="724662" y="359283"/>
                      </a:cubicBezTo>
                      <a:cubicBezTo>
                        <a:pt x="724249" y="357593"/>
                        <a:pt x="723708" y="355938"/>
                        <a:pt x="723043" y="354330"/>
                      </a:cubicBezTo>
                      <a:cubicBezTo>
                        <a:pt x="733867" y="359863"/>
                        <a:pt x="742839" y="368437"/>
                        <a:pt x="748856" y="379000"/>
                      </a:cubicBezTo>
                      <a:cubicBezTo>
                        <a:pt x="749522" y="380143"/>
                        <a:pt x="750284" y="381762"/>
                        <a:pt x="751142" y="383572"/>
                      </a:cubicBezTo>
                      <a:cubicBezTo>
                        <a:pt x="757238" y="396431"/>
                        <a:pt x="768668" y="420243"/>
                        <a:pt x="791528" y="417481"/>
                      </a:cubicBezTo>
                      <a:cubicBezTo>
                        <a:pt x="819150" y="414147"/>
                        <a:pt x="826865" y="376523"/>
                        <a:pt x="827627" y="366427"/>
                      </a:cubicBezTo>
                      <a:cubicBezTo>
                        <a:pt x="828046" y="363592"/>
                        <a:pt x="828780" y="360813"/>
                        <a:pt x="829818" y="358140"/>
                      </a:cubicBezTo>
                      <a:cubicBezTo>
                        <a:pt x="874205" y="574577"/>
                        <a:pt x="734733" y="786013"/>
                        <a:pt x="518296" y="830409"/>
                      </a:cubicBezTo>
                      <a:cubicBezTo>
                        <a:pt x="513378" y="831409"/>
                        <a:pt x="508444" y="832333"/>
                        <a:pt x="503492" y="833152"/>
                      </a:cubicBezTo>
                      <a:close/>
                    </a:path>
                  </a:pathLst>
                </a:custGeom>
                <a:grpFill/>
                <a:ln w="9525" cap="flat">
                  <a:noFill/>
                  <a:prstDash val="solid"/>
                  <a:miter/>
                </a:ln>
              </p:spPr>
              <p:txBody>
                <a:bodyPr rtlCol="0" anchor="ctr"/>
                <a:lstStyle/>
                <a:p>
                  <a:pPr algn="r" rtl="1"/>
                  <a:endParaRPr lang="en-US"/>
                </a:p>
              </p:txBody>
            </p:sp>
            <p:sp>
              <p:nvSpPr>
                <p:cNvPr id="387" name="Freeform: Shape 386">
                  <a:extLst>
                    <a:ext uri="{FF2B5EF4-FFF2-40B4-BE49-F238E27FC236}">
                      <a16:creationId xmlns:a16="http://schemas.microsoft.com/office/drawing/2014/main" id="{77305DBB-3C80-419F-86F5-4AB2DF96E510}"/>
                    </a:ext>
                  </a:extLst>
                </p:cNvPr>
                <p:cNvSpPr/>
                <p:nvPr/>
              </p:nvSpPr>
              <p:spPr>
                <a:xfrm>
                  <a:off x="-849174" y="5341214"/>
                  <a:ext cx="133011" cy="148792"/>
                </a:xfrm>
                <a:custGeom>
                  <a:avLst/>
                  <a:gdLst>
                    <a:gd name="connsiteX0" fmla="*/ 119751 w 133011"/>
                    <a:gd name="connsiteY0" fmla="*/ 6671 h 148792"/>
                    <a:gd name="connsiteX1" fmla="*/ 99081 w 133011"/>
                    <a:gd name="connsiteY1" fmla="*/ 3 h 148792"/>
                    <a:gd name="connsiteX2" fmla="*/ 28882 w 133011"/>
                    <a:gd name="connsiteY2" fmla="*/ 45342 h 148792"/>
                    <a:gd name="connsiteX3" fmla="*/ 307 w 133011"/>
                    <a:gd name="connsiteY3" fmla="*/ 118399 h 148792"/>
                    <a:gd name="connsiteX4" fmla="*/ 34026 w 133011"/>
                    <a:gd name="connsiteY4" fmla="*/ 148784 h 148792"/>
                    <a:gd name="connsiteX5" fmla="*/ 104130 w 133011"/>
                    <a:gd name="connsiteY5" fmla="*/ 103445 h 148792"/>
                    <a:gd name="connsiteX6" fmla="*/ 132705 w 133011"/>
                    <a:gd name="connsiteY6" fmla="*/ 30388 h 148792"/>
                    <a:gd name="connsiteX7" fmla="*/ 119751 w 133011"/>
                    <a:gd name="connsiteY7" fmla="*/ 6671 h 14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011" h="148792">
                      <a:moveTo>
                        <a:pt x="119751" y="6671"/>
                      </a:moveTo>
                      <a:cubicBezTo>
                        <a:pt x="113778" y="2243"/>
                        <a:pt x="106516" y="-101"/>
                        <a:pt x="99081" y="3"/>
                      </a:cubicBezTo>
                      <a:cubicBezTo>
                        <a:pt x="73745" y="3"/>
                        <a:pt x="46218" y="23435"/>
                        <a:pt x="28882" y="45342"/>
                      </a:cubicBezTo>
                      <a:cubicBezTo>
                        <a:pt x="8594" y="71060"/>
                        <a:pt x="-1979" y="98397"/>
                        <a:pt x="307" y="118399"/>
                      </a:cubicBezTo>
                      <a:cubicBezTo>
                        <a:pt x="1716" y="135864"/>
                        <a:pt x="16509" y="149194"/>
                        <a:pt x="34026" y="148784"/>
                      </a:cubicBezTo>
                      <a:cubicBezTo>
                        <a:pt x="59362" y="148784"/>
                        <a:pt x="86889" y="125352"/>
                        <a:pt x="104130" y="103445"/>
                      </a:cubicBezTo>
                      <a:cubicBezTo>
                        <a:pt x="124418" y="77727"/>
                        <a:pt x="134991" y="50486"/>
                        <a:pt x="132705" y="30388"/>
                      </a:cubicBezTo>
                      <a:cubicBezTo>
                        <a:pt x="131837" y="21035"/>
                        <a:pt x="127150" y="12455"/>
                        <a:pt x="119751" y="6671"/>
                      </a:cubicBezTo>
                      <a:close/>
                    </a:path>
                  </a:pathLst>
                </a:custGeom>
                <a:grpFill/>
                <a:ln w="9525" cap="flat">
                  <a:noFill/>
                  <a:prstDash val="solid"/>
                  <a:miter/>
                </a:ln>
              </p:spPr>
              <p:txBody>
                <a:bodyPr rtlCol="0" anchor="ctr"/>
                <a:lstStyle/>
                <a:p>
                  <a:pPr algn="r" rtl="1"/>
                  <a:endParaRPr lang="en-US"/>
                </a:p>
              </p:txBody>
            </p:sp>
          </p:grpSp>
        </p:grpSp>
        <p:sp>
          <p:nvSpPr>
            <p:cNvPr id="382" name="Freeform: Shape 381">
              <a:extLst>
                <a:ext uri="{FF2B5EF4-FFF2-40B4-BE49-F238E27FC236}">
                  <a16:creationId xmlns:a16="http://schemas.microsoft.com/office/drawing/2014/main" id="{F3848AA6-9BCD-4E7C-A242-3E3B68CF33C7}"/>
                </a:ext>
              </a:extLst>
            </p:cNvPr>
            <p:cNvSpPr/>
            <p:nvPr/>
          </p:nvSpPr>
          <p:spPr>
            <a:xfrm>
              <a:off x="10605305" y="4368805"/>
              <a:ext cx="463714" cy="440602"/>
            </a:xfrm>
            <a:custGeom>
              <a:avLst/>
              <a:gdLst>
                <a:gd name="connsiteX0" fmla="*/ 656726 w 856339"/>
                <a:gd name="connsiteY0" fmla="*/ 741998 h 813661"/>
                <a:gd name="connsiteX1" fmla="*/ 645296 w 856339"/>
                <a:gd name="connsiteY1" fmla="*/ 744855 h 813661"/>
                <a:gd name="connsiteX2" fmla="*/ 645296 w 856339"/>
                <a:gd name="connsiteY2" fmla="*/ 756285 h 813661"/>
                <a:gd name="connsiteX3" fmla="*/ 653869 w 856339"/>
                <a:gd name="connsiteY3" fmla="*/ 774383 h 813661"/>
                <a:gd name="connsiteX4" fmla="*/ 651011 w 856339"/>
                <a:gd name="connsiteY4" fmla="*/ 782955 h 813661"/>
                <a:gd name="connsiteX5" fmla="*/ 654821 w 856339"/>
                <a:gd name="connsiteY5" fmla="*/ 798195 h 813661"/>
                <a:gd name="connsiteX6" fmla="*/ 663394 w 856339"/>
                <a:gd name="connsiteY6" fmla="*/ 810578 h 813661"/>
                <a:gd name="connsiteX7" fmla="*/ 672919 w 856339"/>
                <a:gd name="connsiteY7" fmla="*/ 813435 h 813661"/>
                <a:gd name="connsiteX8" fmla="*/ 684349 w 856339"/>
                <a:gd name="connsiteY8" fmla="*/ 804863 h 813661"/>
                <a:gd name="connsiteX9" fmla="*/ 692921 w 856339"/>
                <a:gd name="connsiteY9" fmla="*/ 799148 h 813661"/>
                <a:gd name="connsiteX10" fmla="*/ 698636 w 856339"/>
                <a:gd name="connsiteY10" fmla="*/ 799148 h 813661"/>
                <a:gd name="connsiteX11" fmla="*/ 701494 w 856339"/>
                <a:gd name="connsiteY11" fmla="*/ 784860 h 813661"/>
                <a:gd name="connsiteX12" fmla="*/ 710066 w 856339"/>
                <a:gd name="connsiteY12" fmla="*/ 767715 h 813661"/>
                <a:gd name="connsiteX13" fmla="*/ 706256 w 856339"/>
                <a:gd name="connsiteY13" fmla="*/ 743903 h 813661"/>
                <a:gd name="connsiteX14" fmla="*/ 686254 w 856339"/>
                <a:gd name="connsiteY14" fmla="*/ 750570 h 813661"/>
                <a:gd name="connsiteX15" fmla="*/ 663394 w 856339"/>
                <a:gd name="connsiteY15" fmla="*/ 743903 h 813661"/>
                <a:gd name="connsiteX16" fmla="*/ 656726 w 856339"/>
                <a:gd name="connsiteY16" fmla="*/ 741998 h 813661"/>
                <a:gd name="connsiteX17" fmla="*/ 344306 w 856339"/>
                <a:gd name="connsiteY17" fmla="*/ 509588 h 813661"/>
                <a:gd name="connsiteX18" fmla="*/ 331924 w 856339"/>
                <a:gd name="connsiteY18" fmla="*/ 518160 h 813661"/>
                <a:gd name="connsiteX19" fmla="*/ 305254 w 856339"/>
                <a:gd name="connsiteY19" fmla="*/ 524828 h 813661"/>
                <a:gd name="connsiteX20" fmla="*/ 272869 w 856339"/>
                <a:gd name="connsiteY20" fmla="*/ 533400 h 813661"/>
                <a:gd name="connsiteX21" fmla="*/ 252866 w 856339"/>
                <a:gd name="connsiteY21" fmla="*/ 546735 h 813661"/>
                <a:gd name="connsiteX22" fmla="*/ 238579 w 856339"/>
                <a:gd name="connsiteY22" fmla="*/ 569595 h 813661"/>
                <a:gd name="connsiteX23" fmla="*/ 210956 w 856339"/>
                <a:gd name="connsiteY23" fmla="*/ 569595 h 813661"/>
                <a:gd name="connsiteX24" fmla="*/ 188096 w 856339"/>
                <a:gd name="connsiteY24" fmla="*/ 570548 h 813661"/>
                <a:gd name="connsiteX25" fmla="*/ 167141 w 856339"/>
                <a:gd name="connsiteY25" fmla="*/ 576263 h 813661"/>
                <a:gd name="connsiteX26" fmla="*/ 163331 w 856339"/>
                <a:gd name="connsiteY26" fmla="*/ 591503 h 813661"/>
                <a:gd name="connsiteX27" fmla="*/ 145234 w 856339"/>
                <a:gd name="connsiteY27" fmla="*/ 597218 h 813661"/>
                <a:gd name="connsiteX28" fmla="*/ 121421 w 856339"/>
                <a:gd name="connsiteY28" fmla="*/ 609600 h 813661"/>
                <a:gd name="connsiteX29" fmla="*/ 96656 w 856339"/>
                <a:gd name="connsiteY29" fmla="*/ 605790 h 813661"/>
                <a:gd name="connsiteX30" fmla="*/ 75701 w 856339"/>
                <a:gd name="connsiteY30" fmla="*/ 597218 h 813661"/>
                <a:gd name="connsiteX31" fmla="*/ 71891 w 856339"/>
                <a:gd name="connsiteY31" fmla="*/ 580073 h 813661"/>
                <a:gd name="connsiteX32" fmla="*/ 83321 w 856339"/>
                <a:gd name="connsiteY32" fmla="*/ 565785 h 813661"/>
                <a:gd name="connsiteX33" fmla="*/ 80464 w 856339"/>
                <a:gd name="connsiteY33" fmla="*/ 545783 h 813661"/>
                <a:gd name="connsiteX34" fmla="*/ 77606 w 856339"/>
                <a:gd name="connsiteY34" fmla="*/ 524828 h 813661"/>
                <a:gd name="connsiteX35" fmla="*/ 66176 w 856339"/>
                <a:gd name="connsiteY35" fmla="*/ 504825 h 813661"/>
                <a:gd name="connsiteX36" fmla="*/ 57604 w 856339"/>
                <a:gd name="connsiteY36" fmla="*/ 481013 h 813661"/>
                <a:gd name="connsiteX37" fmla="*/ 50936 w 856339"/>
                <a:gd name="connsiteY37" fmla="*/ 463868 h 813661"/>
                <a:gd name="connsiteX38" fmla="*/ 39506 w 856339"/>
                <a:gd name="connsiteY38" fmla="*/ 446723 h 813661"/>
                <a:gd name="connsiteX39" fmla="*/ 30934 w 856339"/>
                <a:gd name="connsiteY39" fmla="*/ 425768 h 813661"/>
                <a:gd name="connsiteX40" fmla="*/ 12836 w 856339"/>
                <a:gd name="connsiteY40" fmla="*/ 407670 h 813661"/>
                <a:gd name="connsiteX41" fmla="*/ 454 w 856339"/>
                <a:gd name="connsiteY41" fmla="*/ 390525 h 813661"/>
                <a:gd name="connsiteX42" fmla="*/ 20456 w 856339"/>
                <a:gd name="connsiteY42" fmla="*/ 408623 h 813661"/>
                <a:gd name="connsiteX43" fmla="*/ 13789 w 856339"/>
                <a:gd name="connsiteY43" fmla="*/ 390525 h 813661"/>
                <a:gd name="connsiteX44" fmla="*/ 30934 w 856339"/>
                <a:gd name="connsiteY44" fmla="*/ 402907 h 813661"/>
                <a:gd name="connsiteX45" fmla="*/ 4264 w 856339"/>
                <a:gd name="connsiteY45" fmla="*/ 359093 h 813661"/>
                <a:gd name="connsiteX46" fmla="*/ 10931 w 856339"/>
                <a:gd name="connsiteY46" fmla="*/ 331470 h 813661"/>
                <a:gd name="connsiteX47" fmla="*/ 7121 w 856339"/>
                <a:gd name="connsiteY47" fmla="*/ 313373 h 813661"/>
                <a:gd name="connsiteX48" fmla="*/ 13789 w 856339"/>
                <a:gd name="connsiteY48" fmla="*/ 298132 h 813661"/>
                <a:gd name="connsiteX49" fmla="*/ 17599 w 856339"/>
                <a:gd name="connsiteY49" fmla="*/ 313373 h 813661"/>
                <a:gd name="connsiteX50" fmla="*/ 27124 w 856339"/>
                <a:gd name="connsiteY50" fmla="*/ 295275 h 813661"/>
                <a:gd name="connsiteX51" fmla="*/ 53794 w 856339"/>
                <a:gd name="connsiteY51" fmla="*/ 273368 h 813661"/>
                <a:gd name="connsiteX52" fmla="*/ 78559 w 856339"/>
                <a:gd name="connsiteY52" fmla="*/ 261937 h 813661"/>
                <a:gd name="connsiteX53" fmla="*/ 89989 w 856339"/>
                <a:gd name="connsiteY53" fmla="*/ 253365 h 813661"/>
                <a:gd name="connsiteX54" fmla="*/ 105229 w 856339"/>
                <a:gd name="connsiteY54" fmla="*/ 252412 h 813661"/>
                <a:gd name="connsiteX55" fmla="*/ 117611 w 856339"/>
                <a:gd name="connsiteY55" fmla="*/ 240030 h 813661"/>
                <a:gd name="connsiteX56" fmla="*/ 147139 w 856339"/>
                <a:gd name="connsiteY56" fmla="*/ 231458 h 813661"/>
                <a:gd name="connsiteX57" fmla="*/ 173809 w 856339"/>
                <a:gd name="connsiteY57" fmla="*/ 201930 h 813661"/>
                <a:gd name="connsiteX58" fmla="*/ 183334 w 856339"/>
                <a:gd name="connsiteY58" fmla="*/ 184785 h 813661"/>
                <a:gd name="connsiteX59" fmla="*/ 176666 w 856339"/>
                <a:gd name="connsiteY59" fmla="*/ 164783 h 813661"/>
                <a:gd name="connsiteX60" fmla="*/ 194764 w 856339"/>
                <a:gd name="connsiteY60" fmla="*/ 144780 h 813661"/>
                <a:gd name="connsiteX61" fmla="*/ 201431 w 856339"/>
                <a:gd name="connsiteY61" fmla="*/ 160020 h 813661"/>
                <a:gd name="connsiteX62" fmla="*/ 215719 w 856339"/>
                <a:gd name="connsiteY62" fmla="*/ 160020 h 813661"/>
                <a:gd name="connsiteX63" fmla="*/ 211909 w 856339"/>
                <a:gd name="connsiteY63" fmla="*/ 147637 h 813661"/>
                <a:gd name="connsiteX64" fmla="*/ 202384 w 856339"/>
                <a:gd name="connsiteY64" fmla="*/ 138112 h 813661"/>
                <a:gd name="connsiteX65" fmla="*/ 222386 w 856339"/>
                <a:gd name="connsiteY65" fmla="*/ 138112 h 813661"/>
                <a:gd name="connsiteX66" fmla="*/ 234769 w 856339"/>
                <a:gd name="connsiteY66" fmla="*/ 132398 h 813661"/>
                <a:gd name="connsiteX67" fmla="*/ 226196 w 856339"/>
                <a:gd name="connsiteY67" fmla="*/ 112395 h 813661"/>
                <a:gd name="connsiteX68" fmla="*/ 243341 w 856339"/>
                <a:gd name="connsiteY68" fmla="*/ 106680 h 813661"/>
                <a:gd name="connsiteX69" fmla="*/ 243341 w 856339"/>
                <a:gd name="connsiteY69" fmla="*/ 95250 h 813661"/>
                <a:gd name="connsiteX70" fmla="*/ 258581 w 856339"/>
                <a:gd name="connsiteY70" fmla="*/ 88583 h 813661"/>
                <a:gd name="connsiteX71" fmla="*/ 267154 w 856339"/>
                <a:gd name="connsiteY71" fmla="*/ 77152 h 813661"/>
                <a:gd name="connsiteX72" fmla="*/ 281441 w 856339"/>
                <a:gd name="connsiteY72" fmla="*/ 77152 h 813661"/>
                <a:gd name="connsiteX73" fmla="*/ 288109 w 856339"/>
                <a:gd name="connsiteY73" fmla="*/ 71438 h 813661"/>
                <a:gd name="connsiteX74" fmla="*/ 305254 w 856339"/>
                <a:gd name="connsiteY74" fmla="*/ 82868 h 813661"/>
                <a:gd name="connsiteX75" fmla="*/ 316684 w 856339"/>
                <a:gd name="connsiteY75" fmla="*/ 100012 h 813661"/>
                <a:gd name="connsiteX76" fmla="*/ 332876 w 856339"/>
                <a:gd name="connsiteY76" fmla="*/ 98108 h 813661"/>
                <a:gd name="connsiteX77" fmla="*/ 346211 w 856339"/>
                <a:gd name="connsiteY77" fmla="*/ 100965 h 813661"/>
                <a:gd name="connsiteX78" fmla="*/ 346211 w 856339"/>
                <a:gd name="connsiteY78" fmla="*/ 85725 h 813661"/>
                <a:gd name="connsiteX79" fmla="*/ 350021 w 856339"/>
                <a:gd name="connsiteY79" fmla="*/ 74295 h 813661"/>
                <a:gd name="connsiteX80" fmla="*/ 355736 w 856339"/>
                <a:gd name="connsiteY80" fmla="*/ 60008 h 813661"/>
                <a:gd name="connsiteX81" fmla="*/ 355736 w 856339"/>
                <a:gd name="connsiteY81" fmla="*/ 48577 h 813661"/>
                <a:gd name="connsiteX82" fmla="*/ 375739 w 856339"/>
                <a:gd name="connsiteY82" fmla="*/ 36195 h 813661"/>
                <a:gd name="connsiteX83" fmla="*/ 396694 w 856339"/>
                <a:gd name="connsiteY83" fmla="*/ 29527 h 813661"/>
                <a:gd name="connsiteX84" fmla="*/ 414791 w 856339"/>
                <a:gd name="connsiteY84" fmla="*/ 28575 h 813661"/>
                <a:gd name="connsiteX85" fmla="*/ 414791 w 856339"/>
                <a:gd name="connsiteY85" fmla="*/ 16192 h 813661"/>
                <a:gd name="connsiteX86" fmla="*/ 402409 w 856339"/>
                <a:gd name="connsiteY86" fmla="*/ 6667 h 813661"/>
                <a:gd name="connsiteX87" fmla="*/ 419554 w 856339"/>
                <a:gd name="connsiteY87" fmla="*/ 6667 h 813661"/>
                <a:gd name="connsiteX88" fmla="*/ 431936 w 856339"/>
                <a:gd name="connsiteY88" fmla="*/ 16192 h 813661"/>
                <a:gd name="connsiteX89" fmla="*/ 456701 w 856339"/>
                <a:gd name="connsiteY89" fmla="*/ 21908 h 813661"/>
                <a:gd name="connsiteX90" fmla="*/ 471941 w 856339"/>
                <a:gd name="connsiteY90" fmla="*/ 24765 h 813661"/>
                <a:gd name="connsiteX91" fmla="*/ 481466 w 856339"/>
                <a:gd name="connsiteY91" fmla="*/ 28575 h 813661"/>
                <a:gd name="connsiteX92" fmla="*/ 504326 w 856339"/>
                <a:gd name="connsiteY92" fmla="*/ 14288 h 813661"/>
                <a:gd name="connsiteX93" fmla="*/ 521471 w 856339"/>
                <a:gd name="connsiteY93" fmla="*/ 1905 h 813661"/>
                <a:gd name="connsiteX94" fmla="*/ 507184 w 856339"/>
                <a:gd name="connsiteY94" fmla="*/ 20002 h 813661"/>
                <a:gd name="connsiteX95" fmla="*/ 498611 w 856339"/>
                <a:gd name="connsiteY95" fmla="*/ 26670 h 813661"/>
                <a:gd name="connsiteX96" fmla="*/ 518614 w 856339"/>
                <a:gd name="connsiteY96" fmla="*/ 27622 h 813661"/>
                <a:gd name="connsiteX97" fmla="*/ 512899 w 856339"/>
                <a:gd name="connsiteY97" fmla="*/ 50483 h 813661"/>
                <a:gd name="connsiteX98" fmla="*/ 495754 w 856339"/>
                <a:gd name="connsiteY98" fmla="*/ 56197 h 813661"/>
                <a:gd name="connsiteX99" fmla="*/ 496706 w 856339"/>
                <a:gd name="connsiteY99" fmla="*/ 71438 h 813661"/>
                <a:gd name="connsiteX100" fmla="*/ 492896 w 856339"/>
                <a:gd name="connsiteY100" fmla="*/ 83820 h 813661"/>
                <a:gd name="connsiteX101" fmla="*/ 491944 w 856339"/>
                <a:gd name="connsiteY101" fmla="*/ 101918 h 813661"/>
                <a:gd name="connsiteX102" fmla="*/ 503374 w 856339"/>
                <a:gd name="connsiteY102" fmla="*/ 114300 h 813661"/>
                <a:gd name="connsiteX103" fmla="*/ 515756 w 856339"/>
                <a:gd name="connsiteY103" fmla="*/ 117158 h 813661"/>
                <a:gd name="connsiteX104" fmla="*/ 522424 w 856339"/>
                <a:gd name="connsiteY104" fmla="*/ 123825 h 813661"/>
                <a:gd name="connsiteX105" fmla="*/ 533854 w 856339"/>
                <a:gd name="connsiteY105" fmla="*/ 130493 h 813661"/>
                <a:gd name="connsiteX106" fmla="*/ 542426 w 856339"/>
                <a:gd name="connsiteY106" fmla="*/ 134303 h 813661"/>
                <a:gd name="connsiteX107" fmla="*/ 554809 w 856339"/>
                <a:gd name="connsiteY107" fmla="*/ 143828 h 813661"/>
                <a:gd name="connsiteX108" fmla="*/ 569096 w 856339"/>
                <a:gd name="connsiteY108" fmla="*/ 152400 h 813661"/>
                <a:gd name="connsiteX109" fmla="*/ 580526 w 856339"/>
                <a:gd name="connsiteY109" fmla="*/ 164783 h 813661"/>
                <a:gd name="connsiteX110" fmla="*/ 604339 w 856339"/>
                <a:gd name="connsiteY110" fmla="*/ 161925 h 813661"/>
                <a:gd name="connsiteX111" fmla="*/ 616721 w 856339"/>
                <a:gd name="connsiteY111" fmla="*/ 144780 h 813661"/>
                <a:gd name="connsiteX112" fmla="*/ 620531 w 856339"/>
                <a:gd name="connsiteY112" fmla="*/ 130493 h 813661"/>
                <a:gd name="connsiteX113" fmla="*/ 624341 w 856339"/>
                <a:gd name="connsiteY113" fmla="*/ 119062 h 813661"/>
                <a:gd name="connsiteX114" fmla="*/ 628151 w 856339"/>
                <a:gd name="connsiteY114" fmla="*/ 100965 h 813661"/>
                <a:gd name="connsiteX115" fmla="*/ 628151 w 856339"/>
                <a:gd name="connsiteY115" fmla="*/ 86677 h 813661"/>
                <a:gd name="connsiteX116" fmla="*/ 629104 w 856339"/>
                <a:gd name="connsiteY116" fmla="*/ 69533 h 813661"/>
                <a:gd name="connsiteX117" fmla="*/ 631961 w 856339"/>
                <a:gd name="connsiteY117" fmla="*/ 54293 h 813661"/>
                <a:gd name="connsiteX118" fmla="*/ 635771 w 856339"/>
                <a:gd name="connsiteY118" fmla="*/ 44768 h 813661"/>
                <a:gd name="connsiteX119" fmla="*/ 635771 w 856339"/>
                <a:gd name="connsiteY119" fmla="*/ 29527 h 813661"/>
                <a:gd name="connsiteX120" fmla="*/ 644344 w 856339"/>
                <a:gd name="connsiteY120" fmla="*/ 20002 h 813661"/>
                <a:gd name="connsiteX121" fmla="*/ 648154 w 856339"/>
                <a:gd name="connsiteY121" fmla="*/ 6667 h 813661"/>
                <a:gd name="connsiteX122" fmla="*/ 657679 w 856339"/>
                <a:gd name="connsiteY122" fmla="*/ 0 h 813661"/>
                <a:gd name="connsiteX123" fmla="*/ 663394 w 856339"/>
                <a:gd name="connsiteY123" fmla="*/ 9525 h 813661"/>
                <a:gd name="connsiteX124" fmla="*/ 663394 w 856339"/>
                <a:gd name="connsiteY124" fmla="*/ 23813 h 813661"/>
                <a:gd name="connsiteX125" fmla="*/ 669109 w 856339"/>
                <a:gd name="connsiteY125" fmla="*/ 32385 h 813661"/>
                <a:gd name="connsiteX126" fmla="*/ 670061 w 856339"/>
                <a:gd name="connsiteY126" fmla="*/ 39052 h 813661"/>
                <a:gd name="connsiteX127" fmla="*/ 669109 w 856339"/>
                <a:gd name="connsiteY127" fmla="*/ 44768 h 813661"/>
                <a:gd name="connsiteX128" fmla="*/ 674824 w 856339"/>
                <a:gd name="connsiteY128" fmla="*/ 48577 h 813661"/>
                <a:gd name="connsiteX129" fmla="*/ 674824 w 856339"/>
                <a:gd name="connsiteY129" fmla="*/ 57150 h 813661"/>
                <a:gd name="connsiteX130" fmla="*/ 677681 w 856339"/>
                <a:gd name="connsiteY130" fmla="*/ 62865 h 813661"/>
                <a:gd name="connsiteX131" fmla="*/ 677681 w 856339"/>
                <a:gd name="connsiteY131" fmla="*/ 80010 h 813661"/>
                <a:gd name="connsiteX132" fmla="*/ 680539 w 856339"/>
                <a:gd name="connsiteY132" fmla="*/ 89535 h 813661"/>
                <a:gd name="connsiteX133" fmla="*/ 687206 w 856339"/>
                <a:gd name="connsiteY133" fmla="*/ 96202 h 813661"/>
                <a:gd name="connsiteX134" fmla="*/ 698636 w 856339"/>
                <a:gd name="connsiteY134" fmla="*/ 93345 h 813661"/>
                <a:gd name="connsiteX135" fmla="*/ 705304 w 856339"/>
                <a:gd name="connsiteY135" fmla="*/ 99060 h 813661"/>
                <a:gd name="connsiteX136" fmla="*/ 713876 w 856339"/>
                <a:gd name="connsiteY136" fmla="*/ 108585 h 813661"/>
                <a:gd name="connsiteX137" fmla="*/ 713876 w 856339"/>
                <a:gd name="connsiteY137" fmla="*/ 117158 h 813661"/>
                <a:gd name="connsiteX138" fmla="*/ 713876 w 856339"/>
                <a:gd name="connsiteY138" fmla="*/ 126683 h 813661"/>
                <a:gd name="connsiteX139" fmla="*/ 716734 w 856339"/>
                <a:gd name="connsiteY139" fmla="*/ 136208 h 813661"/>
                <a:gd name="connsiteX140" fmla="*/ 713876 w 856339"/>
                <a:gd name="connsiteY140" fmla="*/ 145733 h 813661"/>
                <a:gd name="connsiteX141" fmla="*/ 722449 w 856339"/>
                <a:gd name="connsiteY141" fmla="*/ 157162 h 813661"/>
                <a:gd name="connsiteX142" fmla="*/ 726259 w 856339"/>
                <a:gd name="connsiteY142" fmla="*/ 171450 h 813661"/>
                <a:gd name="connsiteX143" fmla="*/ 726259 w 856339"/>
                <a:gd name="connsiteY143" fmla="*/ 182880 h 813661"/>
                <a:gd name="connsiteX144" fmla="*/ 727211 w 856339"/>
                <a:gd name="connsiteY144" fmla="*/ 192405 h 813661"/>
                <a:gd name="connsiteX145" fmla="*/ 730069 w 856339"/>
                <a:gd name="connsiteY145" fmla="*/ 201930 h 813661"/>
                <a:gd name="connsiteX146" fmla="*/ 733879 w 856339"/>
                <a:gd name="connsiteY146" fmla="*/ 217170 h 813661"/>
                <a:gd name="connsiteX147" fmla="*/ 745309 w 856339"/>
                <a:gd name="connsiteY147" fmla="*/ 222885 h 813661"/>
                <a:gd name="connsiteX148" fmla="*/ 753881 w 856339"/>
                <a:gd name="connsiteY148" fmla="*/ 225743 h 813661"/>
                <a:gd name="connsiteX149" fmla="*/ 762454 w 856339"/>
                <a:gd name="connsiteY149" fmla="*/ 234315 h 813661"/>
                <a:gd name="connsiteX150" fmla="*/ 771979 w 856339"/>
                <a:gd name="connsiteY150" fmla="*/ 242887 h 813661"/>
                <a:gd name="connsiteX151" fmla="*/ 780551 w 856339"/>
                <a:gd name="connsiteY151" fmla="*/ 254318 h 813661"/>
                <a:gd name="connsiteX152" fmla="*/ 784361 w 856339"/>
                <a:gd name="connsiteY152" fmla="*/ 269557 h 813661"/>
                <a:gd name="connsiteX153" fmla="*/ 792934 w 856339"/>
                <a:gd name="connsiteY153" fmla="*/ 281940 h 813661"/>
                <a:gd name="connsiteX154" fmla="*/ 792934 w 856339"/>
                <a:gd name="connsiteY154" fmla="*/ 294323 h 813661"/>
                <a:gd name="connsiteX155" fmla="*/ 795791 w 856339"/>
                <a:gd name="connsiteY155" fmla="*/ 302895 h 813661"/>
                <a:gd name="connsiteX156" fmla="*/ 802459 w 856339"/>
                <a:gd name="connsiteY156" fmla="*/ 299085 h 813661"/>
                <a:gd name="connsiteX157" fmla="*/ 806269 w 856339"/>
                <a:gd name="connsiteY157" fmla="*/ 305753 h 813661"/>
                <a:gd name="connsiteX158" fmla="*/ 811984 w 856339"/>
                <a:gd name="connsiteY158" fmla="*/ 306705 h 813661"/>
                <a:gd name="connsiteX159" fmla="*/ 817699 w 856339"/>
                <a:gd name="connsiteY159" fmla="*/ 310515 h 813661"/>
                <a:gd name="connsiteX160" fmla="*/ 814841 w 856339"/>
                <a:gd name="connsiteY160" fmla="*/ 324803 h 813661"/>
                <a:gd name="connsiteX161" fmla="*/ 814841 w 856339"/>
                <a:gd name="connsiteY161" fmla="*/ 330518 h 813661"/>
                <a:gd name="connsiteX162" fmla="*/ 823414 w 856339"/>
                <a:gd name="connsiteY162" fmla="*/ 336232 h 813661"/>
                <a:gd name="connsiteX163" fmla="*/ 829129 w 856339"/>
                <a:gd name="connsiteY163" fmla="*/ 348615 h 813661"/>
                <a:gd name="connsiteX164" fmla="*/ 837701 w 856339"/>
                <a:gd name="connsiteY164" fmla="*/ 360998 h 813661"/>
                <a:gd name="connsiteX165" fmla="*/ 846274 w 856339"/>
                <a:gd name="connsiteY165" fmla="*/ 372428 h 813661"/>
                <a:gd name="connsiteX166" fmla="*/ 850084 w 856339"/>
                <a:gd name="connsiteY166" fmla="*/ 381953 h 813661"/>
                <a:gd name="connsiteX167" fmla="*/ 852941 w 856339"/>
                <a:gd name="connsiteY167" fmla="*/ 390525 h 813661"/>
                <a:gd name="connsiteX168" fmla="*/ 855799 w 856339"/>
                <a:gd name="connsiteY168" fmla="*/ 397193 h 813661"/>
                <a:gd name="connsiteX169" fmla="*/ 854846 w 856339"/>
                <a:gd name="connsiteY169" fmla="*/ 406718 h 813661"/>
                <a:gd name="connsiteX170" fmla="*/ 855799 w 856339"/>
                <a:gd name="connsiteY170" fmla="*/ 416243 h 813661"/>
                <a:gd name="connsiteX171" fmla="*/ 855799 w 856339"/>
                <a:gd name="connsiteY171" fmla="*/ 430530 h 813661"/>
                <a:gd name="connsiteX172" fmla="*/ 854846 w 856339"/>
                <a:gd name="connsiteY172" fmla="*/ 439103 h 813661"/>
                <a:gd name="connsiteX173" fmla="*/ 855799 w 856339"/>
                <a:gd name="connsiteY173" fmla="*/ 448628 h 813661"/>
                <a:gd name="connsiteX174" fmla="*/ 851989 w 856339"/>
                <a:gd name="connsiteY174" fmla="*/ 472440 h 813661"/>
                <a:gd name="connsiteX175" fmla="*/ 846274 w 856339"/>
                <a:gd name="connsiteY175" fmla="*/ 486728 h 813661"/>
                <a:gd name="connsiteX176" fmla="*/ 836749 w 856339"/>
                <a:gd name="connsiteY176" fmla="*/ 507682 h 813661"/>
                <a:gd name="connsiteX177" fmla="*/ 833891 w 856339"/>
                <a:gd name="connsiteY177" fmla="*/ 524828 h 813661"/>
                <a:gd name="connsiteX178" fmla="*/ 827224 w 856339"/>
                <a:gd name="connsiteY178" fmla="*/ 540068 h 813661"/>
                <a:gd name="connsiteX179" fmla="*/ 817699 w 856339"/>
                <a:gd name="connsiteY179" fmla="*/ 555308 h 813661"/>
                <a:gd name="connsiteX180" fmla="*/ 805316 w 856339"/>
                <a:gd name="connsiteY180" fmla="*/ 563880 h 813661"/>
                <a:gd name="connsiteX181" fmla="*/ 793886 w 856339"/>
                <a:gd name="connsiteY181" fmla="*/ 575310 h 813661"/>
                <a:gd name="connsiteX182" fmla="*/ 784361 w 856339"/>
                <a:gd name="connsiteY182" fmla="*/ 589598 h 813661"/>
                <a:gd name="connsiteX183" fmla="*/ 780551 w 856339"/>
                <a:gd name="connsiteY183" fmla="*/ 607695 h 813661"/>
                <a:gd name="connsiteX184" fmla="*/ 768169 w 856339"/>
                <a:gd name="connsiteY184" fmla="*/ 621983 h 813661"/>
                <a:gd name="connsiteX185" fmla="*/ 762454 w 856339"/>
                <a:gd name="connsiteY185" fmla="*/ 637223 h 813661"/>
                <a:gd name="connsiteX186" fmla="*/ 756739 w 856339"/>
                <a:gd name="connsiteY186" fmla="*/ 655320 h 813661"/>
                <a:gd name="connsiteX187" fmla="*/ 753881 w 856339"/>
                <a:gd name="connsiteY187" fmla="*/ 667703 h 813661"/>
                <a:gd name="connsiteX188" fmla="*/ 739594 w 856339"/>
                <a:gd name="connsiteY188" fmla="*/ 673418 h 813661"/>
                <a:gd name="connsiteX189" fmla="*/ 724354 w 856339"/>
                <a:gd name="connsiteY189" fmla="*/ 676275 h 813661"/>
                <a:gd name="connsiteX190" fmla="*/ 706256 w 856339"/>
                <a:gd name="connsiteY190" fmla="*/ 679133 h 813661"/>
                <a:gd name="connsiteX191" fmla="*/ 693874 w 856339"/>
                <a:gd name="connsiteY191" fmla="*/ 688658 h 813661"/>
                <a:gd name="connsiteX192" fmla="*/ 684349 w 856339"/>
                <a:gd name="connsiteY192" fmla="*/ 689610 h 813661"/>
                <a:gd name="connsiteX193" fmla="*/ 687206 w 856339"/>
                <a:gd name="connsiteY193" fmla="*/ 696278 h 813661"/>
                <a:gd name="connsiteX194" fmla="*/ 678634 w 856339"/>
                <a:gd name="connsiteY194" fmla="*/ 699135 h 813661"/>
                <a:gd name="connsiteX195" fmla="*/ 669109 w 856339"/>
                <a:gd name="connsiteY195" fmla="*/ 687705 h 813661"/>
                <a:gd name="connsiteX196" fmla="*/ 654821 w 856339"/>
                <a:gd name="connsiteY196" fmla="*/ 679133 h 813661"/>
                <a:gd name="connsiteX197" fmla="*/ 657679 w 856339"/>
                <a:gd name="connsiteY197" fmla="*/ 672465 h 813661"/>
                <a:gd name="connsiteX198" fmla="*/ 653869 w 856339"/>
                <a:gd name="connsiteY198" fmla="*/ 666750 h 813661"/>
                <a:gd name="connsiteX199" fmla="*/ 648154 w 856339"/>
                <a:gd name="connsiteY199" fmla="*/ 675323 h 813661"/>
                <a:gd name="connsiteX200" fmla="*/ 638629 w 856339"/>
                <a:gd name="connsiteY200" fmla="*/ 681038 h 813661"/>
                <a:gd name="connsiteX201" fmla="*/ 627199 w 856339"/>
                <a:gd name="connsiteY201" fmla="*/ 687705 h 813661"/>
                <a:gd name="connsiteX202" fmla="*/ 615769 w 856339"/>
                <a:gd name="connsiteY202" fmla="*/ 681038 h 813661"/>
                <a:gd name="connsiteX203" fmla="*/ 603386 w 856339"/>
                <a:gd name="connsiteY203" fmla="*/ 674370 h 813661"/>
                <a:gd name="connsiteX204" fmla="*/ 591004 w 856339"/>
                <a:gd name="connsiteY204" fmla="*/ 674370 h 813661"/>
                <a:gd name="connsiteX205" fmla="*/ 576716 w 856339"/>
                <a:gd name="connsiteY205" fmla="*/ 664845 h 813661"/>
                <a:gd name="connsiteX206" fmla="*/ 567191 w 856339"/>
                <a:gd name="connsiteY206" fmla="*/ 656273 h 813661"/>
                <a:gd name="connsiteX207" fmla="*/ 560524 w 856339"/>
                <a:gd name="connsiteY207" fmla="*/ 638175 h 813661"/>
                <a:gd name="connsiteX208" fmla="*/ 556714 w 856339"/>
                <a:gd name="connsiteY208" fmla="*/ 620078 h 813661"/>
                <a:gd name="connsiteX209" fmla="*/ 550999 w 856339"/>
                <a:gd name="connsiteY209" fmla="*/ 604838 h 813661"/>
                <a:gd name="connsiteX210" fmla="*/ 547189 w 856339"/>
                <a:gd name="connsiteY210" fmla="*/ 598170 h 813661"/>
                <a:gd name="connsiteX211" fmla="*/ 535759 w 856339"/>
                <a:gd name="connsiteY211" fmla="*/ 601028 h 813661"/>
                <a:gd name="connsiteX212" fmla="*/ 534806 w 856339"/>
                <a:gd name="connsiteY212" fmla="*/ 595313 h 813661"/>
                <a:gd name="connsiteX213" fmla="*/ 540521 w 856339"/>
                <a:gd name="connsiteY213" fmla="*/ 585788 h 813661"/>
                <a:gd name="connsiteX214" fmla="*/ 531949 w 856339"/>
                <a:gd name="connsiteY214" fmla="*/ 570548 h 813661"/>
                <a:gd name="connsiteX215" fmla="*/ 526234 w 856339"/>
                <a:gd name="connsiteY215" fmla="*/ 579120 h 813661"/>
                <a:gd name="connsiteX216" fmla="*/ 516709 w 856339"/>
                <a:gd name="connsiteY216" fmla="*/ 591503 h 813661"/>
                <a:gd name="connsiteX217" fmla="*/ 505279 w 856339"/>
                <a:gd name="connsiteY217" fmla="*/ 592455 h 813661"/>
                <a:gd name="connsiteX218" fmla="*/ 516709 w 856339"/>
                <a:gd name="connsiteY218" fmla="*/ 582930 h 813661"/>
                <a:gd name="connsiteX219" fmla="*/ 520519 w 856339"/>
                <a:gd name="connsiteY219" fmla="*/ 574358 h 813661"/>
                <a:gd name="connsiteX220" fmla="*/ 523376 w 856339"/>
                <a:gd name="connsiteY220" fmla="*/ 560070 h 813661"/>
                <a:gd name="connsiteX221" fmla="*/ 527186 w 856339"/>
                <a:gd name="connsiteY221" fmla="*/ 547688 h 813661"/>
                <a:gd name="connsiteX222" fmla="*/ 526234 w 856339"/>
                <a:gd name="connsiteY222" fmla="*/ 529590 h 813661"/>
                <a:gd name="connsiteX223" fmla="*/ 520519 w 856339"/>
                <a:gd name="connsiteY223" fmla="*/ 541973 h 813661"/>
                <a:gd name="connsiteX224" fmla="*/ 508136 w 856339"/>
                <a:gd name="connsiteY224" fmla="*/ 554355 h 813661"/>
                <a:gd name="connsiteX225" fmla="*/ 495754 w 856339"/>
                <a:gd name="connsiteY225" fmla="*/ 566738 h 813661"/>
                <a:gd name="connsiteX226" fmla="*/ 490039 w 856339"/>
                <a:gd name="connsiteY226" fmla="*/ 578168 h 813661"/>
                <a:gd name="connsiteX227" fmla="*/ 478609 w 856339"/>
                <a:gd name="connsiteY227" fmla="*/ 578168 h 813661"/>
                <a:gd name="connsiteX228" fmla="*/ 479561 w 856339"/>
                <a:gd name="connsiteY228" fmla="*/ 566738 h 813661"/>
                <a:gd name="connsiteX229" fmla="*/ 470989 w 856339"/>
                <a:gd name="connsiteY229" fmla="*/ 554355 h 813661"/>
                <a:gd name="connsiteX230" fmla="*/ 464321 w 856339"/>
                <a:gd name="connsiteY230" fmla="*/ 545783 h 813661"/>
                <a:gd name="connsiteX231" fmla="*/ 454796 w 856339"/>
                <a:gd name="connsiteY231" fmla="*/ 537210 h 813661"/>
                <a:gd name="connsiteX232" fmla="*/ 448129 w 856339"/>
                <a:gd name="connsiteY232" fmla="*/ 520065 h 813661"/>
                <a:gd name="connsiteX233" fmla="*/ 432889 w 856339"/>
                <a:gd name="connsiteY233" fmla="*/ 514350 h 813661"/>
                <a:gd name="connsiteX234" fmla="*/ 412886 w 856339"/>
                <a:gd name="connsiteY234" fmla="*/ 507682 h 813661"/>
                <a:gd name="connsiteX235" fmla="*/ 396694 w 856339"/>
                <a:gd name="connsiteY235" fmla="*/ 498157 h 813661"/>
                <a:gd name="connsiteX236" fmla="*/ 372881 w 856339"/>
                <a:gd name="connsiteY236" fmla="*/ 503873 h 813661"/>
                <a:gd name="connsiteX237" fmla="*/ 344306 w 856339"/>
                <a:gd name="connsiteY237" fmla="*/ 509588 h 81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856339" h="813661">
                  <a:moveTo>
                    <a:pt x="656726" y="741998"/>
                  </a:moveTo>
                  <a:cubicBezTo>
                    <a:pt x="650059" y="739140"/>
                    <a:pt x="647201" y="741045"/>
                    <a:pt x="645296" y="744855"/>
                  </a:cubicBezTo>
                  <a:cubicBezTo>
                    <a:pt x="644344" y="748665"/>
                    <a:pt x="644344" y="748665"/>
                    <a:pt x="645296" y="756285"/>
                  </a:cubicBezTo>
                  <a:cubicBezTo>
                    <a:pt x="646249" y="762953"/>
                    <a:pt x="649106" y="768668"/>
                    <a:pt x="653869" y="774383"/>
                  </a:cubicBezTo>
                  <a:cubicBezTo>
                    <a:pt x="653869" y="774383"/>
                    <a:pt x="653869" y="778193"/>
                    <a:pt x="651011" y="782955"/>
                  </a:cubicBezTo>
                  <a:cubicBezTo>
                    <a:pt x="648154" y="786765"/>
                    <a:pt x="650059" y="789623"/>
                    <a:pt x="654821" y="798195"/>
                  </a:cubicBezTo>
                  <a:cubicBezTo>
                    <a:pt x="659584" y="806768"/>
                    <a:pt x="660536" y="804863"/>
                    <a:pt x="663394" y="810578"/>
                  </a:cubicBezTo>
                  <a:cubicBezTo>
                    <a:pt x="666251" y="816293"/>
                    <a:pt x="667204" y="811530"/>
                    <a:pt x="672919" y="813435"/>
                  </a:cubicBezTo>
                  <a:cubicBezTo>
                    <a:pt x="678634" y="814388"/>
                    <a:pt x="679586" y="812483"/>
                    <a:pt x="684349" y="804863"/>
                  </a:cubicBezTo>
                  <a:cubicBezTo>
                    <a:pt x="688159" y="798195"/>
                    <a:pt x="688159" y="798195"/>
                    <a:pt x="692921" y="799148"/>
                  </a:cubicBezTo>
                  <a:cubicBezTo>
                    <a:pt x="696731" y="800100"/>
                    <a:pt x="695779" y="804863"/>
                    <a:pt x="698636" y="799148"/>
                  </a:cubicBezTo>
                  <a:cubicBezTo>
                    <a:pt x="701494" y="793433"/>
                    <a:pt x="699589" y="792480"/>
                    <a:pt x="701494" y="784860"/>
                  </a:cubicBezTo>
                  <a:cubicBezTo>
                    <a:pt x="702446" y="778193"/>
                    <a:pt x="707209" y="776288"/>
                    <a:pt x="710066" y="767715"/>
                  </a:cubicBezTo>
                  <a:cubicBezTo>
                    <a:pt x="712924" y="759143"/>
                    <a:pt x="713876" y="746760"/>
                    <a:pt x="706256" y="743903"/>
                  </a:cubicBezTo>
                  <a:cubicBezTo>
                    <a:pt x="698636" y="741045"/>
                    <a:pt x="696731" y="749618"/>
                    <a:pt x="686254" y="750570"/>
                  </a:cubicBezTo>
                  <a:cubicBezTo>
                    <a:pt x="676729" y="751523"/>
                    <a:pt x="671014" y="747713"/>
                    <a:pt x="663394" y="743903"/>
                  </a:cubicBezTo>
                  <a:cubicBezTo>
                    <a:pt x="664346" y="744855"/>
                    <a:pt x="664346" y="744855"/>
                    <a:pt x="656726" y="741998"/>
                  </a:cubicBezTo>
                  <a:close/>
                  <a:moveTo>
                    <a:pt x="344306" y="509588"/>
                  </a:moveTo>
                  <a:cubicBezTo>
                    <a:pt x="341449" y="510540"/>
                    <a:pt x="336686" y="513398"/>
                    <a:pt x="331924" y="518160"/>
                  </a:cubicBezTo>
                  <a:cubicBezTo>
                    <a:pt x="323351" y="526733"/>
                    <a:pt x="314779" y="524828"/>
                    <a:pt x="305254" y="524828"/>
                  </a:cubicBezTo>
                  <a:cubicBezTo>
                    <a:pt x="295729" y="524828"/>
                    <a:pt x="282394" y="525780"/>
                    <a:pt x="272869" y="533400"/>
                  </a:cubicBezTo>
                  <a:cubicBezTo>
                    <a:pt x="263344" y="540068"/>
                    <a:pt x="262391" y="537210"/>
                    <a:pt x="252866" y="546735"/>
                  </a:cubicBezTo>
                  <a:cubicBezTo>
                    <a:pt x="243341" y="556260"/>
                    <a:pt x="249056" y="566738"/>
                    <a:pt x="238579" y="569595"/>
                  </a:cubicBezTo>
                  <a:cubicBezTo>
                    <a:pt x="229054" y="572453"/>
                    <a:pt x="221434" y="569595"/>
                    <a:pt x="210956" y="569595"/>
                  </a:cubicBezTo>
                  <a:cubicBezTo>
                    <a:pt x="199526" y="569595"/>
                    <a:pt x="199526" y="566738"/>
                    <a:pt x="188096" y="570548"/>
                  </a:cubicBezTo>
                  <a:cubicBezTo>
                    <a:pt x="176666" y="574358"/>
                    <a:pt x="172856" y="571500"/>
                    <a:pt x="167141" y="576263"/>
                  </a:cubicBezTo>
                  <a:cubicBezTo>
                    <a:pt x="161426" y="580073"/>
                    <a:pt x="167141" y="588645"/>
                    <a:pt x="163331" y="591503"/>
                  </a:cubicBezTo>
                  <a:cubicBezTo>
                    <a:pt x="159521" y="594360"/>
                    <a:pt x="153806" y="588645"/>
                    <a:pt x="145234" y="597218"/>
                  </a:cubicBezTo>
                  <a:cubicBezTo>
                    <a:pt x="136661" y="605790"/>
                    <a:pt x="132851" y="608648"/>
                    <a:pt x="121421" y="609600"/>
                  </a:cubicBezTo>
                  <a:cubicBezTo>
                    <a:pt x="109991" y="610553"/>
                    <a:pt x="104276" y="608648"/>
                    <a:pt x="96656" y="605790"/>
                  </a:cubicBezTo>
                  <a:cubicBezTo>
                    <a:pt x="88084" y="602933"/>
                    <a:pt x="82369" y="602933"/>
                    <a:pt x="75701" y="597218"/>
                  </a:cubicBezTo>
                  <a:cubicBezTo>
                    <a:pt x="69034" y="591503"/>
                    <a:pt x="67129" y="582930"/>
                    <a:pt x="71891" y="580073"/>
                  </a:cubicBezTo>
                  <a:cubicBezTo>
                    <a:pt x="76654" y="577215"/>
                    <a:pt x="84274" y="577215"/>
                    <a:pt x="83321" y="565785"/>
                  </a:cubicBezTo>
                  <a:cubicBezTo>
                    <a:pt x="82369" y="554355"/>
                    <a:pt x="77606" y="556260"/>
                    <a:pt x="80464" y="545783"/>
                  </a:cubicBezTo>
                  <a:cubicBezTo>
                    <a:pt x="83321" y="536258"/>
                    <a:pt x="83321" y="534353"/>
                    <a:pt x="77606" y="524828"/>
                  </a:cubicBezTo>
                  <a:cubicBezTo>
                    <a:pt x="71891" y="515303"/>
                    <a:pt x="73796" y="518160"/>
                    <a:pt x="66176" y="504825"/>
                  </a:cubicBezTo>
                  <a:cubicBezTo>
                    <a:pt x="58556" y="491490"/>
                    <a:pt x="59509" y="492443"/>
                    <a:pt x="57604" y="481013"/>
                  </a:cubicBezTo>
                  <a:cubicBezTo>
                    <a:pt x="56651" y="469582"/>
                    <a:pt x="58556" y="475298"/>
                    <a:pt x="50936" y="463868"/>
                  </a:cubicBezTo>
                  <a:cubicBezTo>
                    <a:pt x="42364" y="452438"/>
                    <a:pt x="45221" y="457200"/>
                    <a:pt x="39506" y="446723"/>
                  </a:cubicBezTo>
                  <a:cubicBezTo>
                    <a:pt x="33791" y="437198"/>
                    <a:pt x="38554" y="431482"/>
                    <a:pt x="30934" y="425768"/>
                  </a:cubicBezTo>
                  <a:cubicBezTo>
                    <a:pt x="24266" y="420053"/>
                    <a:pt x="16646" y="411480"/>
                    <a:pt x="12836" y="407670"/>
                  </a:cubicBezTo>
                  <a:cubicBezTo>
                    <a:pt x="9026" y="403860"/>
                    <a:pt x="-2404" y="393382"/>
                    <a:pt x="454" y="390525"/>
                  </a:cubicBezTo>
                  <a:cubicBezTo>
                    <a:pt x="3311" y="387668"/>
                    <a:pt x="17599" y="411480"/>
                    <a:pt x="20456" y="408623"/>
                  </a:cubicBezTo>
                  <a:cubicBezTo>
                    <a:pt x="23314" y="405765"/>
                    <a:pt x="10931" y="394335"/>
                    <a:pt x="13789" y="390525"/>
                  </a:cubicBezTo>
                  <a:cubicBezTo>
                    <a:pt x="16646" y="386715"/>
                    <a:pt x="26171" y="408623"/>
                    <a:pt x="30934" y="402907"/>
                  </a:cubicBezTo>
                  <a:cubicBezTo>
                    <a:pt x="34744" y="397193"/>
                    <a:pt x="3311" y="366713"/>
                    <a:pt x="4264" y="359093"/>
                  </a:cubicBezTo>
                  <a:cubicBezTo>
                    <a:pt x="5216" y="352425"/>
                    <a:pt x="10931" y="338138"/>
                    <a:pt x="10931" y="331470"/>
                  </a:cubicBezTo>
                  <a:cubicBezTo>
                    <a:pt x="10931" y="324803"/>
                    <a:pt x="5216" y="320040"/>
                    <a:pt x="7121" y="313373"/>
                  </a:cubicBezTo>
                  <a:cubicBezTo>
                    <a:pt x="8074" y="306705"/>
                    <a:pt x="7121" y="299085"/>
                    <a:pt x="13789" y="298132"/>
                  </a:cubicBezTo>
                  <a:cubicBezTo>
                    <a:pt x="20456" y="297180"/>
                    <a:pt x="12836" y="316230"/>
                    <a:pt x="17599" y="313373"/>
                  </a:cubicBezTo>
                  <a:cubicBezTo>
                    <a:pt x="23314" y="310515"/>
                    <a:pt x="21409" y="300990"/>
                    <a:pt x="27124" y="295275"/>
                  </a:cubicBezTo>
                  <a:cubicBezTo>
                    <a:pt x="30934" y="291465"/>
                    <a:pt x="43316" y="282893"/>
                    <a:pt x="53794" y="273368"/>
                  </a:cubicBezTo>
                  <a:cubicBezTo>
                    <a:pt x="63319" y="263843"/>
                    <a:pt x="69034" y="261937"/>
                    <a:pt x="78559" y="261937"/>
                  </a:cubicBezTo>
                  <a:cubicBezTo>
                    <a:pt x="88084" y="261937"/>
                    <a:pt x="82369" y="260985"/>
                    <a:pt x="89989" y="253365"/>
                  </a:cubicBezTo>
                  <a:cubicBezTo>
                    <a:pt x="97609" y="245745"/>
                    <a:pt x="101419" y="252412"/>
                    <a:pt x="105229" y="252412"/>
                  </a:cubicBezTo>
                  <a:cubicBezTo>
                    <a:pt x="109039" y="252412"/>
                    <a:pt x="110944" y="240982"/>
                    <a:pt x="117611" y="240030"/>
                  </a:cubicBezTo>
                  <a:cubicBezTo>
                    <a:pt x="124279" y="239078"/>
                    <a:pt x="137614" y="236220"/>
                    <a:pt x="147139" y="231458"/>
                  </a:cubicBezTo>
                  <a:cubicBezTo>
                    <a:pt x="156664" y="227648"/>
                    <a:pt x="170951" y="208598"/>
                    <a:pt x="173809" y="201930"/>
                  </a:cubicBezTo>
                  <a:cubicBezTo>
                    <a:pt x="176666" y="195262"/>
                    <a:pt x="183334" y="187643"/>
                    <a:pt x="183334" y="184785"/>
                  </a:cubicBezTo>
                  <a:cubicBezTo>
                    <a:pt x="183334" y="181928"/>
                    <a:pt x="171904" y="172403"/>
                    <a:pt x="176666" y="164783"/>
                  </a:cubicBezTo>
                  <a:cubicBezTo>
                    <a:pt x="180476" y="158115"/>
                    <a:pt x="189049" y="143828"/>
                    <a:pt x="194764" y="144780"/>
                  </a:cubicBezTo>
                  <a:cubicBezTo>
                    <a:pt x="200479" y="145733"/>
                    <a:pt x="195716" y="159068"/>
                    <a:pt x="201431" y="160020"/>
                  </a:cubicBezTo>
                  <a:cubicBezTo>
                    <a:pt x="207146" y="160973"/>
                    <a:pt x="215719" y="166687"/>
                    <a:pt x="215719" y="160020"/>
                  </a:cubicBezTo>
                  <a:cubicBezTo>
                    <a:pt x="215719" y="153353"/>
                    <a:pt x="216671" y="151448"/>
                    <a:pt x="211909" y="147637"/>
                  </a:cubicBezTo>
                  <a:cubicBezTo>
                    <a:pt x="206194" y="143828"/>
                    <a:pt x="202384" y="140970"/>
                    <a:pt x="202384" y="138112"/>
                  </a:cubicBezTo>
                  <a:cubicBezTo>
                    <a:pt x="202384" y="135255"/>
                    <a:pt x="213814" y="135255"/>
                    <a:pt x="222386" y="138112"/>
                  </a:cubicBezTo>
                  <a:cubicBezTo>
                    <a:pt x="230959" y="140970"/>
                    <a:pt x="237626" y="138112"/>
                    <a:pt x="234769" y="132398"/>
                  </a:cubicBezTo>
                  <a:cubicBezTo>
                    <a:pt x="231911" y="126683"/>
                    <a:pt x="223339" y="118110"/>
                    <a:pt x="226196" y="112395"/>
                  </a:cubicBezTo>
                  <a:cubicBezTo>
                    <a:pt x="229054" y="106680"/>
                    <a:pt x="237626" y="111443"/>
                    <a:pt x="243341" y="106680"/>
                  </a:cubicBezTo>
                  <a:cubicBezTo>
                    <a:pt x="249056" y="102870"/>
                    <a:pt x="236674" y="100965"/>
                    <a:pt x="243341" y="95250"/>
                  </a:cubicBezTo>
                  <a:cubicBezTo>
                    <a:pt x="250009" y="89535"/>
                    <a:pt x="251914" y="88583"/>
                    <a:pt x="258581" y="88583"/>
                  </a:cubicBezTo>
                  <a:cubicBezTo>
                    <a:pt x="265249" y="88583"/>
                    <a:pt x="261439" y="80010"/>
                    <a:pt x="267154" y="77152"/>
                  </a:cubicBezTo>
                  <a:cubicBezTo>
                    <a:pt x="272869" y="74295"/>
                    <a:pt x="278584" y="82868"/>
                    <a:pt x="281441" y="77152"/>
                  </a:cubicBezTo>
                  <a:cubicBezTo>
                    <a:pt x="284299" y="71438"/>
                    <a:pt x="284299" y="71438"/>
                    <a:pt x="288109" y="71438"/>
                  </a:cubicBezTo>
                  <a:cubicBezTo>
                    <a:pt x="291919" y="71438"/>
                    <a:pt x="297634" y="77152"/>
                    <a:pt x="305254" y="82868"/>
                  </a:cubicBezTo>
                  <a:cubicBezTo>
                    <a:pt x="311921" y="88583"/>
                    <a:pt x="306206" y="94298"/>
                    <a:pt x="316684" y="100012"/>
                  </a:cubicBezTo>
                  <a:cubicBezTo>
                    <a:pt x="322399" y="100965"/>
                    <a:pt x="323351" y="97155"/>
                    <a:pt x="332876" y="98108"/>
                  </a:cubicBezTo>
                  <a:lnTo>
                    <a:pt x="346211" y="100965"/>
                  </a:lnTo>
                  <a:cubicBezTo>
                    <a:pt x="351926" y="98108"/>
                    <a:pt x="350021" y="91440"/>
                    <a:pt x="346211" y="85725"/>
                  </a:cubicBezTo>
                  <a:cubicBezTo>
                    <a:pt x="342401" y="80010"/>
                    <a:pt x="347164" y="80010"/>
                    <a:pt x="350021" y="74295"/>
                  </a:cubicBezTo>
                  <a:cubicBezTo>
                    <a:pt x="352879" y="68580"/>
                    <a:pt x="347164" y="62865"/>
                    <a:pt x="355736" y="60008"/>
                  </a:cubicBezTo>
                  <a:cubicBezTo>
                    <a:pt x="364309" y="57150"/>
                    <a:pt x="352879" y="54293"/>
                    <a:pt x="355736" y="48577"/>
                  </a:cubicBezTo>
                  <a:cubicBezTo>
                    <a:pt x="358594" y="42863"/>
                    <a:pt x="368119" y="44768"/>
                    <a:pt x="375739" y="36195"/>
                  </a:cubicBezTo>
                  <a:cubicBezTo>
                    <a:pt x="382406" y="27622"/>
                    <a:pt x="388121" y="26670"/>
                    <a:pt x="396694" y="29527"/>
                  </a:cubicBezTo>
                  <a:cubicBezTo>
                    <a:pt x="405266" y="32385"/>
                    <a:pt x="408124" y="32385"/>
                    <a:pt x="414791" y="28575"/>
                  </a:cubicBezTo>
                  <a:cubicBezTo>
                    <a:pt x="421459" y="24765"/>
                    <a:pt x="417649" y="20002"/>
                    <a:pt x="414791" y="16192"/>
                  </a:cubicBezTo>
                  <a:cubicBezTo>
                    <a:pt x="411934" y="12383"/>
                    <a:pt x="397646" y="12383"/>
                    <a:pt x="402409" y="6667"/>
                  </a:cubicBezTo>
                  <a:cubicBezTo>
                    <a:pt x="407171" y="952"/>
                    <a:pt x="416696" y="2857"/>
                    <a:pt x="419554" y="6667"/>
                  </a:cubicBezTo>
                  <a:cubicBezTo>
                    <a:pt x="422411" y="10477"/>
                    <a:pt x="428126" y="9525"/>
                    <a:pt x="431936" y="16192"/>
                  </a:cubicBezTo>
                  <a:cubicBezTo>
                    <a:pt x="435746" y="22860"/>
                    <a:pt x="446224" y="15240"/>
                    <a:pt x="456701" y="21908"/>
                  </a:cubicBezTo>
                  <a:cubicBezTo>
                    <a:pt x="467179" y="28575"/>
                    <a:pt x="459559" y="27622"/>
                    <a:pt x="471941" y="24765"/>
                  </a:cubicBezTo>
                  <a:cubicBezTo>
                    <a:pt x="484324" y="21908"/>
                    <a:pt x="474799" y="27622"/>
                    <a:pt x="481466" y="28575"/>
                  </a:cubicBezTo>
                  <a:cubicBezTo>
                    <a:pt x="488134" y="29527"/>
                    <a:pt x="495754" y="21908"/>
                    <a:pt x="504326" y="14288"/>
                  </a:cubicBezTo>
                  <a:cubicBezTo>
                    <a:pt x="512899" y="7620"/>
                    <a:pt x="515756" y="-953"/>
                    <a:pt x="521471" y="1905"/>
                  </a:cubicBezTo>
                  <a:cubicBezTo>
                    <a:pt x="526234" y="4763"/>
                    <a:pt x="515756" y="13335"/>
                    <a:pt x="507184" y="20002"/>
                  </a:cubicBezTo>
                  <a:cubicBezTo>
                    <a:pt x="498611" y="26670"/>
                    <a:pt x="491944" y="22860"/>
                    <a:pt x="498611" y="26670"/>
                  </a:cubicBezTo>
                  <a:cubicBezTo>
                    <a:pt x="505279" y="30480"/>
                    <a:pt x="515756" y="20002"/>
                    <a:pt x="518614" y="27622"/>
                  </a:cubicBezTo>
                  <a:cubicBezTo>
                    <a:pt x="521471" y="36195"/>
                    <a:pt x="518614" y="41910"/>
                    <a:pt x="512899" y="50483"/>
                  </a:cubicBezTo>
                  <a:cubicBezTo>
                    <a:pt x="507184" y="59055"/>
                    <a:pt x="495754" y="49530"/>
                    <a:pt x="495754" y="56197"/>
                  </a:cubicBezTo>
                  <a:cubicBezTo>
                    <a:pt x="495754" y="62865"/>
                    <a:pt x="499564" y="62865"/>
                    <a:pt x="496706" y="71438"/>
                  </a:cubicBezTo>
                  <a:cubicBezTo>
                    <a:pt x="493849" y="80010"/>
                    <a:pt x="496706" y="77152"/>
                    <a:pt x="492896" y="83820"/>
                  </a:cubicBezTo>
                  <a:cubicBezTo>
                    <a:pt x="489086" y="90487"/>
                    <a:pt x="483371" y="96202"/>
                    <a:pt x="491944" y="101918"/>
                  </a:cubicBezTo>
                  <a:cubicBezTo>
                    <a:pt x="500516" y="107633"/>
                    <a:pt x="495754" y="111443"/>
                    <a:pt x="503374" y="114300"/>
                  </a:cubicBezTo>
                  <a:cubicBezTo>
                    <a:pt x="510041" y="117158"/>
                    <a:pt x="509089" y="113348"/>
                    <a:pt x="515756" y="117158"/>
                  </a:cubicBezTo>
                  <a:cubicBezTo>
                    <a:pt x="522424" y="120968"/>
                    <a:pt x="515756" y="120015"/>
                    <a:pt x="522424" y="123825"/>
                  </a:cubicBezTo>
                  <a:cubicBezTo>
                    <a:pt x="529091" y="127635"/>
                    <a:pt x="528139" y="126683"/>
                    <a:pt x="533854" y="130493"/>
                  </a:cubicBezTo>
                  <a:cubicBezTo>
                    <a:pt x="533854" y="130493"/>
                    <a:pt x="539569" y="130493"/>
                    <a:pt x="542426" y="134303"/>
                  </a:cubicBezTo>
                  <a:lnTo>
                    <a:pt x="554809" y="143828"/>
                  </a:lnTo>
                  <a:cubicBezTo>
                    <a:pt x="561476" y="144780"/>
                    <a:pt x="567191" y="144780"/>
                    <a:pt x="569096" y="152400"/>
                  </a:cubicBezTo>
                  <a:cubicBezTo>
                    <a:pt x="570049" y="159068"/>
                    <a:pt x="574811" y="161925"/>
                    <a:pt x="580526" y="164783"/>
                  </a:cubicBezTo>
                  <a:cubicBezTo>
                    <a:pt x="586241" y="167640"/>
                    <a:pt x="598624" y="168593"/>
                    <a:pt x="604339" y="161925"/>
                  </a:cubicBezTo>
                  <a:cubicBezTo>
                    <a:pt x="610054" y="155258"/>
                    <a:pt x="615769" y="150495"/>
                    <a:pt x="616721" y="144780"/>
                  </a:cubicBezTo>
                  <a:cubicBezTo>
                    <a:pt x="617674" y="139065"/>
                    <a:pt x="617674" y="136208"/>
                    <a:pt x="620531" y="130493"/>
                  </a:cubicBezTo>
                  <a:cubicBezTo>
                    <a:pt x="623389" y="124777"/>
                    <a:pt x="624341" y="124777"/>
                    <a:pt x="624341" y="119062"/>
                  </a:cubicBezTo>
                  <a:cubicBezTo>
                    <a:pt x="624341" y="113348"/>
                    <a:pt x="628151" y="106680"/>
                    <a:pt x="628151" y="100965"/>
                  </a:cubicBezTo>
                  <a:cubicBezTo>
                    <a:pt x="628151" y="95250"/>
                    <a:pt x="631009" y="91440"/>
                    <a:pt x="628151" y="86677"/>
                  </a:cubicBezTo>
                  <a:cubicBezTo>
                    <a:pt x="625294" y="82868"/>
                    <a:pt x="629104" y="74295"/>
                    <a:pt x="629104" y="69533"/>
                  </a:cubicBezTo>
                  <a:cubicBezTo>
                    <a:pt x="629104" y="65723"/>
                    <a:pt x="629104" y="57150"/>
                    <a:pt x="631961" y="54293"/>
                  </a:cubicBezTo>
                  <a:cubicBezTo>
                    <a:pt x="634819" y="51435"/>
                    <a:pt x="637676" y="48577"/>
                    <a:pt x="635771" y="44768"/>
                  </a:cubicBezTo>
                  <a:cubicBezTo>
                    <a:pt x="634819" y="40958"/>
                    <a:pt x="632914" y="33338"/>
                    <a:pt x="635771" y="29527"/>
                  </a:cubicBezTo>
                  <a:cubicBezTo>
                    <a:pt x="638629" y="25717"/>
                    <a:pt x="641486" y="25717"/>
                    <a:pt x="644344" y="20002"/>
                  </a:cubicBezTo>
                  <a:cubicBezTo>
                    <a:pt x="649106" y="16192"/>
                    <a:pt x="643391" y="10477"/>
                    <a:pt x="648154" y="6667"/>
                  </a:cubicBezTo>
                  <a:cubicBezTo>
                    <a:pt x="651964" y="2857"/>
                    <a:pt x="653869" y="0"/>
                    <a:pt x="657679" y="0"/>
                  </a:cubicBezTo>
                  <a:cubicBezTo>
                    <a:pt x="661489" y="0"/>
                    <a:pt x="661489" y="3810"/>
                    <a:pt x="663394" y="9525"/>
                  </a:cubicBezTo>
                  <a:cubicBezTo>
                    <a:pt x="664346" y="15240"/>
                    <a:pt x="662441" y="19050"/>
                    <a:pt x="663394" y="23813"/>
                  </a:cubicBezTo>
                  <a:cubicBezTo>
                    <a:pt x="664346" y="27622"/>
                    <a:pt x="664346" y="29527"/>
                    <a:pt x="669109" y="32385"/>
                  </a:cubicBezTo>
                  <a:cubicBezTo>
                    <a:pt x="672919" y="35243"/>
                    <a:pt x="671966" y="36195"/>
                    <a:pt x="670061" y="39052"/>
                  </a:cubicBezTo>
                  <a:cubicBezTo>
                    <a:pt x="669109" y="41910"/>
                    <a:pt x="666251" y="41910"/>
                    <a:pt x="669109" y="44768"/>
                  </a:cubicBezTo>
                  <a:cubicBezTo>
                    <a:pt x="671966" y="47625"/>
                    <a:pt x="672919" y="43815"/>
                    <a:pt x="674824" y="48577"/>
                  </a:cubicBezTo>
                  <a:cubicBezTo>
                    <a:pt x="675776" y="54293"/>
                    <a:pt x="673871" y="54293"/>
                    <a:pt x="674824" y="57150"/>
                  </a:cubicBezTo>
                  <a:cubicBezTo>
                    <a:pt x="675776" y="60008"/>
                    <a:pt x="677681" y="56197"/>
                    <a:pt x="677681" y="62865"/>
                  </a:cubicBezTo>
                  <a:cubicBezTo>
                    <a:pt x="677681" y="69533"/>
                    <a:pt x="676729" y="72390"/>
                    <a:pt x="677681" y="80010"/>
                  </a:cubicBezTo>
                  <a:cubicBezTo>
                    <a:pt x="678634" y="86677"/>
                    <a:pt x="677681" y="83820"/>
                    <a:pt x="680539" y="89535"/>
                  </a:cubicBezTo>
                  <a:cubicBezTo>
                    <a:pt x="683396" y="95250"/>
                    <a:pt x="681491" y="96202"/>
                    <a:pt x="687206" y="96202"/>
                  </a:cubicBezTo>
                  <a:cubicBezTo>
                    <a:pt x="692921" y="96202"/>
                    <a:pt x="692921" y="90487"/>
                    <a:pt x="698636" y="93345"/>
                  </a:cubicBezTo>
                  <a:cubicBezTo>
                    <a:pt x="704351" y="96202"/>
                    <a:pt x="701494" y="93345"/>
                    <a:pt x="705304" y="99060"/>
                  </a:cubicBezTo>
                  <a:cubicBezTo>
                    <a:pt x="709114" y="104775"/>
                    <a:pt x="711019" y="102870"/>
                    <a:pt x="713876" y="108585"/>
                  </a:cubicBezTo>
                  <a:cubicBezTo>
                    <a:pt x="716734" y="114300"/>
                    <a:pt x="714829" y="112395"/>
                    <a:pt x="713876" y="117158"/>
                  </a:cubicBezTo>
                  <a:cubicBezTo>
                    <a:pt x="712924" y="120968"/>
                    <a:pt x="712924" y="120968"/>
                    <a:pt x="713876" y="126683"/>
                  </a:cubicBezTo>
                  <a:cubicBezTo>
                    <a:pt x="714829" y="132398"/>
                    <a:pt x="716734" y="129540"/>
                    <a:pt x="716734" y="136208"/>
                  </a:cubicBezTo>
                  <a:cubicBezTo>
                    <a:pt x="716734" y="142875"/>
                    <a:pt x="711019" y="141923"/>
                    <a:pt x="713876" y="145733"/>
                  </a:cubicBezTo>
                  <a:cubicBezTo>
                    <a:pt x="716734" y="149543"/>
                    <a:pt x="719591" y="149543"/>
                    <a:pt x="722449" y="157162"/>
                  </a:cubicBezTo>
                  <a:cubicBezTo>
                    <a:pt x="725306" y="163830"/>
                    <a:pt x="726259" y="163830"/>
                    <a:pt x="726259" y="171450"/>
                  </a:cubicBezTo>
                  <a:cubicBezTo>
                    <a:pt x="726259" y="179070"/>
                    <a:pt x="729116" y="177165"/>
                    <a:pt x="726259" y="182880"/>
                  </a:cubicBezTo>
                  <a:cubicBezTo>
                    <a:pt x="723401" y="188595"/>
                    <a:pt x="725306" y="189548"/>
                    <a:pt x="727211" y="192405"/>
                  </a:cubicBezTo>
                  <a:cubicBezTo>
                    <a:pt x="730069" y="195262"/>
                    <a:pt x="731021" y="198120"/>
                    <a:pt x="730069" y="201930"/>
                  </a:cubicBezTo>
                  <a:cubicBezTo>
                    <a:pt x="729116" y="205740"/>
                    <a:pt x="730069" y="214312"/>
                    <a:pt x="733879" y="217170"/>
                  </a:cubicBezTo>
                  <a:cubicBezTo>
                    <a:pt x="737689" y="220028"/>
                    <a:pt x="740546" y="218123"/>
                    <a:pt x="745309" y="222885"/>
                  </a:cubicBezTo>
                  <a:cubicBezTo>
                    <a:pt x="749119" y="226695"/>
                    <a:pt x="749119" y="221933"/>
                    <a:pt x="753881" y="225743"/>
                  </a:cubicBezTo>
                  <a:cubicBezTo>
                    <a:pt x="757691" y="229553"/>
                    <a:pt x="757691" y="231458"/>
                    <a:pt x="762454" y="234315"/>
                  </a:cubicBezTo>
                  <a:cubicBezTo>
                    <a:pt x="766264" y="237173"/>
                    <a:pt x="766264" y="238125"/>
                    <a:pt x="771979" y="242887"/>
                  </a:cubicBezTo>
                  <a:cubicBezTo>
                    <a:pt x="777694" y="246698"/>
                    <a:pt x="780551" y="246698"/>
                    <a:pt x="780551" y="254318"/>
                  </a:cubicBezTo>
                  <a:cubicBezTo>
                    <a:pt x="780551" y="260985"/>
                    <a:pt x="779599" y="263843"/>
                    <a:pt x="784361" y="269557"/>
                  </a:cubicBezTo>
                  <a:cubicBezTo>
                    <a:pt x="790076" y="275273"/>
                    <a:pt x="792934" y="275273"/>
                    <a:pt x="792934" y="281940"/>
                  </a:cubicBezTo>
                  <a:cubicBezTo>
                    <a:pt x="792934" y="288607"/>
                    <a:pt x="790076" y="288607"/>
                    <a:pt x="792934" y="294323"/>
                  </a:cubicBezTo>
                  <a:cubicBezTo>
                    <a:pt x="795791" y="300038"/>
                    <a:pt x="790076" y="300990"/>
                    <a:pt x="795791" y="302895"/>
                  </a:cubicBezTo>
                  <a:cubicBezTo>
                    <a:pt x="801506" y="303848"/>
                    <a:pt x="796744" y="299085"/>
                    <a:pt x="802459" y="299085"/>
                  </a:cubicBezTo>
                  <a:cubicBezTo>
                    <a:pt x="808174" y="299085"/>
                    <a:pt x="803411" y="302895"/>
                    <a:pt x="806269" y="305753"/>
                  </a:cubicBezTo>
                  <a:cubicBezTo>
                    <a:pt x="809126" y="308610"/>
                    <a:pt x="806269" y="306705"/>
                    <a:pt x="811984" y="306705"/>
                  </a:cubicBezTo>
                  <a:cubicBezTo>
                    <a:pt x="817699" y="306705"/>
                    <a:pt x="817699" y="303848"/>
                    <a:pt x="817699" y="310515"/>
                  </a:cubicBezTo>
                  <a:cubicBezTo>
                    <a:pt x="817699" y="317182"/>
                    <a:pt x="816746" y="319088"/>
                    <a:pt x="814841" y="324803"/>
                  </a:cubicBezTo>
                  <a:cubicBezTo>
                    <a:pt x="813889" y="330518"/>
                    <a:pt x="811031" y="327660"/>
                    <a:pt x="814841" y="330518"/>
                  </a:cubicBezTo>
                  <a:cubicBezTo>
                    <a:pt x="818651" y="333375"/>
                    <a:pt x="821509" y="330518"/>
                    <a:pt x="823414" y="336232"/>
                  </a:cubicBezTo>
                  <a:cubicBezTo>
                    <a:pt x="824366" y="341948"/>
                    <a:pt x="824366" y="344805"/>
                    <a:pt x="829129" y="348615"/>
                  </a:cubicBezTo>
                  <a:cubicBezTo>
                    <a:pt x="832939" y="352425"/>
                    <a:pt x="832939" y="355282"/>
                    <a:pt x="837701" y="360998"/>
                  </a:cubicBezTo>
                  <a:cubicBezTo>
                    <a:pt x="842464" y="366713"/>
                    <a:pt x="843416" y="366713"/>
                    <a:pt x="846274" y="372428"/>
                  </a:cubicBezTo>
                  <a:cubicBezTo>
                    <a:pt x="849131" y="378143"/>
                    <a:pt x="846274" y="378143"/>
                    <a:pt x="850084" y="381953"/>
                  </a:cubicBezTo>
                  <a:cubicBezTo>
                    <a:pt x="853894" y="385763"/>
                    <a:pt x="851036" y="384810"/>
                    <a:pt x="852941" y="390525"/>
                  </a:cubicBezTo>
                  <a:cubicBezTo>
                    <a:pt x="853894" y="396240"/>
                    <a:pt x="855799" y="391478"/>
                    <a:pt x="855799" y="397193"/>
                  </a:cubicBezTo>
                  <a:cubicBezTo>
                    <a:pt x="855799" y="402907"/>
                    <a:pt x="855799" y="401003"/>
                    <a:pt x="854846" y="406718"/>
                  </a:cubicBezTo>
                  <a:cubicBezTo>
                    <a:pt x="853894" y="412432"/>
                    <a:pt x="857704" y="409575"/>
                    <a:pt x="855799" y="416243"/>
                  </a:cubicBezTo>
                  <a:cubicBezTo>
                    <a:pt x="854846" y="422910"/>
                    <a:pt x="856751" y="422910"/>
                    <a:pt x="855799" y="430530"/>
                  </a:cubicBezTo>
                  <a:cubicBezTo>
                    <a:pt x="854846" y="437198"/>
                    <a:pt x="854846" y="430530"/>
                    <a:pt x="854846" y="439103"/>
                  </a:cubicBezTo>
                  <a:lnTo>
                    <a:pt x="855799" y="448628"/>
                  </a:lnTo>
                  <a:cubicBezTo>
                    <a:pt x="855799" y="448628"/>
                    <a:pt x="855799" y="462915"/>
                    <a:pt x="851989" y="472440"/>
                  </a:cubicBezTo>
                  <a:cubicBezTo>
                    <a:pt x="848179" y="481965"/>
                    <a:pt x="848179" y="478155"/>
                    <a:pt x="846274" y="486728"/>
                  </a:cubicBezTo>
                  <a:cubicBezTo>
                    <a:pt x="845321" y="495300"/>
                    <a:pt x="842464" y="499110"/>
                    <a:pt x="836749" y="507682"/>
                  </a:cubicBezTo>
                  <a:cubicBezTo>
                    <a:pt x="831034" y="516255"/>
                    <a:pt x="837701" y="516255"/>
                    <a:pt x="833891" y="524828"/>
                  </a:cubicBezTo>
                  <a:cubicBezTo>
                    <a:pt x="830081" y="533400"/>
                    <a:pt x="832939" y="531495"/>
                    <a:pt x="827224" y="540068"/>
                  </a:cubicBezTo>
                  <a:cubicBezTo>
                    <a:pt x="821509" y="548640"/>
                    <a:pt x="821509" y="548640"/>
                    <a:pt x="817699" y="555308"/>
                  </a:cubicBezTo>
                  <a:cubicBezTo>
                    <a:pt x="813889" y="561975"/>
                    <a:pt x="809126" y="559118"/>
                    <a:pt x="805316" y="563880"/>
                  </a:cubicBezTo>
                  <a:cubicBezTo>
                    <a:pt x="801506" y="567690"/>
                    <a:pt x="798649" y="570548"/>
                    <a:pt x="793886" y="575310"/>
                  </a:cubicBezTo>
                  <a:cubicBezTo>
                    <a:pt x="790076" y="579120"/>
                    <a:pt x="787219" y="581978"/>
                    <a:pt x="784361" y="589598"/>
                  </a:cubicBezTo>
                  <a:cubicBezTo>
                    <a:pt x="781504" y="597218"/>
                    <a:pt x="783409" y="599123"/>
                    <a:pt x="780551" y="607695"/>
                  </a:cubicBezTo>
                  <a:cubicBezTo>
                    <a:pt x="777694" y="616268"/>
                    <a:pt x="774836" y="613410"/>
                    <a:pt x="768169" y="621983"/>
                  </a:cubicBezTo>
                  <a:cubicBezTo>
                    <a:pt x="761501" y="630555"/>
                    <a:pt x="765311" y="633413"/>
                    <a:pt x="762454" y="637223"/>
                  </a:cubicBezTo>
                  <a:cubicBezTo>
                    <a:pt x="759596" y="641033"/>
                    <a:pt x="758644" y="646748"/>
                    <a:pt x="756739" y="655320"/>
                  </a:cubicBezTo>
                  <a:lnTo>
                    <a:pt x="753881" y="667703"/>
                  </a:lnTo>
                  <a:cubicBezTo>
                    <a:pt x="753881" y="667703"/>
                    <a:pt x="745309" y="671513"/>
                    <a:pt x="739594" y="673418"/>
                  </a:cubicBezTo>
                  <a:cubicBezTo>
                    <a:pt x="733879" y="674370"/>
                    <a:pt x="731021" y="674370"/>
                    <a:pt x="724354" y="676275"/>
                  </a:cubicBezTo>
                  <a:cubicBezTo>
                    <a:pt x="717686" y="677228"/>
                    <a:pt x="711971" y="676275"/>
                    <a:pt x="706256" y="679133"/>
                  </a:cubicBezTo>
                  <a:cubicBezTo>
                    <a:pt x="700541" y="681990"/>
                    <a:pt x="699589" y="684848"/>
                    <a:pt x="693874" y="688658"/>
                  </a:cubicBezTo>
                  <a:cubicBezTo>
                    <a:pt x="688159" y="692468"/>
                    <a:pt x="688159" y="685800"/>
                    <a:pt x="684349" y="689610"/>
                  </a:cubicBezTo>
                  <a:cubicBezTo>
                    <a:pt x="684349" y="689610"/>
                    <a:pt x="685301" y="692468"/>
                    <a:pt x="687206" y="696278"/>
                  </a:cubicBezTo>
                  <a:cubicBezTo>
                    <a:pt x="688159" y="700088"/>
                    <a:pt x="681491" y="700088"/>
                    <a:pt x="678634" y="699135"/>
                  </a:cubicBezTo>
                  <a:cubicBezTo>
                    <a:pt x="675776" y="698183"/>
                    <a:pt x="672919" y="693420"/>
                    <a:pt x="669109" y="687705"/>
                  </a:cubicBezTo>
                  <a:cubicBezTo>
                    <a:pt x="665299" y="681990"/>
                    <a:pt x="660536" y="681038"/>
                    <a:pt x="654821" y="679133"/>
                  </a:cubicBezTo>
                  <a:cubicBezTo>
                    <a:pt x="649106" y="678180"/>
                    <a:pt x="655774" y="675323"/>
                    <a:pt x="657679" y="672465"/>
                  </a:cubicBezTo>
                  <a:cubicBezTo>
                    <a:pt x="658631" y="669608"/>
                    <a:pt x="658631" y="665798"/>
                    <a:pt x="653869" y="666750"/>
                  </a:cubicBezTo>
                  <a:cubicBezTo>
                    <a:pt x="648154" y="667703"/>
                    <a:pt x="652916" y="669608"/>
                    <a:pt x="648154" y="675323"/>
                  </a:cubicBezTo>
                  <a:cubicBezTo>
                    <a:pt x="644344" y="681038"/>
                    <a:pt x="642439" y="678180"/>
                    <a:pt x="638629" y="681038"/>
                  </a:cubicBezTo>
                  <a:cubicBezTo>
                    <a:pt x="634819" y="683895"/>
                    <a:pt x="632914" y="687705"/>
                    <a:pt x="627199" y="687705"/>
                  </a:cubicBezTo>
                  <a:cubicBezTo>
                    <a:pt x="621484" y="687705"/>
                    <a:pt x="621484" y="681038"/>
                    <a:pt x="615769" y="681038"/>
                  </a:cubicBezTo>
                  <a:cubicBezTo>
                    <a:pt x="610054" y="681038"/>
                    <a:pt x="609101" y="677228"/>
                    <a:pt x="603386" y="674370"/>
                  </a:cubicBezTo>
                  <a:cubicBezTo>
                    <a:pt x="597671" y="671513"/>
                    <a:pt x="596719" y="673418"/>
                    <a:pt x="591004" y="674370"/>
                  </a:cubicBezTo>
                  <a:lnTo>
                    <a:pt x="576716" y="664845"/>
                  </a:lnTo>
                  <a:cubicBezTo>
                    <a:pt x="571001" y="661035"/>
                    <a:pt x="572906" y="661035"/>
                    <a:pt x="567191" y="656273"/>
                  </a:cubicBezTo>
                  <a:cubicBezTo>
                    <a:pt x="561476" y="652463"/>
                    <a:pt x="557666" y="646748"/>
                    <a:pt x="560524" y="638175"/>
                  </a:cubicBezTo>
                  <a:cubicBezTo>
                    <a:pt x="563381" y="629603"/>
                    <a:pt x="560524" y="626745"/>
                    <a:pt x="556714" y="620078"/>
                  </a:cubicBezTo>
                  <a:cubicBezTo>
                    <a:pt x="552904" y="613410"/>
                    <a:pt x="552904" y="610553"/>
                    <a:pt x="550999" y="604838"/>
                  </a:cubicBezTo>
                  <a:cubicBezTo>
                    <a:pt x="549094" y="599123"/>
                    <a:pt x="553856" y="595313"/>
                    <a:pt x="547189" y="598170"/>
                  </a:cubicBezTo>
                  <a:cubicBezTo>
                    <a:pt x="540521" y="601028"/>
                    <a:pt x="544331" y="601028"/>
                    <a:pt x="535759" y="601028"/>
                  </a:cubicBezTo>
                  <a:cubicBezTo>
                    <a:pt x="527186" y="601028"/>
                    <a:pt x="531949" y="601028"/>
                    <a:pt x="534806" y="595313"/>
                  </a:cubicBezTo>
                  <a:cubicBezTo>
                    <a:pt x="537664" y="589598"/>
                    <a:pt x="543379" y="591503"/>
                    <a:pt x="540521" y="585788"/>
                  </a:cubicBezTo>
                  <a:cubicBezTo>
                    <a:pt x="537664" y="580073"/>
                    <a:pt x="534806" y="577215"/>
                    <a:pt x="531949" y="570548"/>
                  </a:cubicBezTo>
                  <a:cubicBezTo>
                    <a:pt x="529091" y="563880"/>
                    <a:pt x="526234" y="571500"/>
                    <a:pt x="526234" y="579120"/>
                  </a:cubicBezTo>
                  <a:cubicBezTo>
                    <a:pt x="526234" y="585788"/>
                    <a:pt x="520519" y="588645"/>
                    <a:pt x="516709" y="591503"/>
                  </a:cubicBezTo>
                  <a:cubicBezTo>
                    <a:pt x="512899" y="594360"/>
                    <a:pt x="508136" y="595313"/>
                    <a:pt x="505279" y="592455"/>
                  </a:cubicBezTo>
                  <a:cubicBezTo>
                    <a:pt x="502421" y="589598"/>
                    <a:pt x="513851" y="583883"/>
                    <a:pt x="516709" y="582930"/>
                  </a:cubicBezTo>
                  <a:cubicBezTo>
                    <a:pt x="519566" y="581978"/>
                    <a:pt x="519566" y="580073"/>
                    <a:pt x="520519" y="574358"/>
                  </a:cubicBezTo>
                  <a:cubicBezTo>
                    <a:pt x="521471" y="568643"/>
                    <a:pt x="521471" y="567690"/>
                    <a:pt x="523376" y="560070"/>
                  </a:cubicBezTo>
                  <a:cubicBezTo>
                    <a:pt x="524329" y="553403"/>
                    <a:pt x="527186" y="550545"/>
                    <a:pt x="527186" y="547688"/>
                  </a:cubicBezTo>
                  <a:cubicBezTo>
                    <a:pt x="527186" y="544830"/>
                    <a:pt x="528139" y="529590"/>
                    <a:pt x="526234" y="529590"/>
                  </a:cubicBezTo>
                  <a:cubicBezTo>
                    <a:pt x="523376" y="529590"/>
                    <a:pt x="522424" y="538163"/>
                    <a:pt x="520519" y="541973"/>
                  </a:cubicBezTo>
                  <a:cubicBezTo>
                    <a:pt x="519566" y="545783"/>
                    <a:pt x="516709" y="550545"/>
                    <a:pt x="508136" y="554355"/>
                  </a:cubicBezTo>
                  <a:cubicBezTo>
                    <a:pt x="499564" y="558165"/>
                    <a:pt x="499564" y="560070"/>
                    <a:pt x="495754" y="566738"/>
                  </a:cubicBezTo>
                  <a:cubicBezTo>
                    <a:pt x="491944" y="573405"/>
                    <a:pt x="491944" y="572453"/>
                    <a:pt x="490039" y="578168"/>
                  </a:cubicBezTo>
                  <a:cubicBezTo>
                    <a:pt x="489086" y="583883"/>
                    <a:pt x="481466" y="581978"/>
                    <a:pt x="478609" y="578168"/>
                  </a:cubicBezTo>
                  <a:cubicBezTo>
                    <a:pt x="475751" y="574358"/>
                    <a:pt x="479561" y="572453"/>
                    <a:pt x="479561" y="566738"/>
                  </a:cubicBezTo>
                  <a:cubicBezTo>
                    <a:pt x="479561" y="561023"/>
                    <a:pt x="475751" y="557213"/>
                    <a:pt x="470989" y="554355"/>
                  </a:cubicBezTo>
                  <a:cubicBezTo>
                    <a:pt x="467179" y="551498"/>
                    <a:pt x="465274" y="553403"/>
                    <a:pt x="464321" y="545783"/>
                  </a:cubicBezTo>
                  <a:cubicBezTo>
                    <a:pt x="463369" y="538163"/>
                    <a:pt x="460511" y="541973"/>
                    <a:pt x="454796" y="537210"/>
                  </a:cubicBezTo>
                  <a:cubicBezTo>
                    <a:pt x="449081" y="533400"/>
                    <a:pt x="450986" y="527685"/>
                    <a:pt x="448129" y="520065"/>
                  </a:cubicBezTo>
                  <a:cubicBezTo>
                    <a:pt x="445271" y="513398"/>
                    <a:pt x="435746" y="519113"/>
                    <a:pt x="432889" y="514350"/>
                  </a:cubicBezTo>
                  <a:cubicBezTo>
                    <a:pt x="430031" y="510540"/>
                    <a:pt x="418601" y="510540"/>
                    <a:pt x="412886" y="507682"/>
                  </a:cubicBezTo>
                  <a:cubicBezTo>
                    <a:pt x="407171" y="504825"/>
                    <a:pt x="405266" y="502920"/>
                    <a:pt x="396694" y="498157"/>
                  </a:cubicBezTo>
                  <a:cubicBezTo>
                    <a:pt x="388121" y="494348"/>
                    <a:pt x="382406" y="503873"/>
                    <a:pt x="372881" y="503873"/>
                  </a:cubicBezTo>
                  <a:lnTo>
                    <a:pt x="344306" y="509588"/>
                  </a:lnTo>
                  <a:close/>
                </a:path>
              </a:pathLst>
            </a:custGeom>
            <a:solidFill>
              <a:srgbClr val="ECECF8"/>
            </a:solidFill>
            <a:ln w="28575" cap="flat">
              <a:solidFill>
                <a:srgbClr val="ECECF8"/>
              </a:solidFill>
              <a:prstDash val="solid"/>
              <a:miter/>
            </a:ln>
          </p:spPr>
          <p:txBody>
            <a:bodyPr rtlCol="0" anchor="ctr"/>
            <a:lstStyle/>
            <a:p>
              <a:pPr algn="r" rtl="1"/>
              <a:endParaRPr lang="en-US"/>
            </a:p>
          </p:txBody>
        </p:sp>
        <p:sp>
          <p:nvSpPr>
            <p:cNvPr id="383" name="Freeform: Shape 382">
              <a:extLst>
                <a:ext uri="{FF2B5EF4-FFF2-40B4-BE49-F238E27FC236}">
                  <a16:creationId xmlns:a16="http://schemas.microsoft.com/office/drawing/2014/main" id="{294E720E-1527-4818-AD6B-7F05E9E4203F}"/>
                </a:ext>
              </a:extLst>
            </p:cNvPr>
            <p:cNvSpPr/>
            <p:nvPr/>
          </p:nvSpPr>
          <p:spPr>
            <a:xfrm>
              <a:off x="10634884" y="4396909"/>
              <a:ext cx="404555" cy="384393"/>
            </a:xfrm>
            <a:custGeom>
              <a:avLst/>
              <a:gdLst>
                <a:gd name="connsiteX0" fmla="*/ 656726 w 856339"/>
                <a:gd name="connsiteY0" fmla="*/ 741998 h 813661"/>
                <a:gd name="connsiteX1" fmla="*/ 645296 w 856339"/>
                <a:gd name="connsiteY1" fmla="*/ 744855 h 813661"/>
                <a:gd name="connsiteX2" fmla="*/ 645296 w 856339"/>
                <a:gd name="connsiteY2" fmla="*/ 756285 h 813661"/>
                <a:gd name="connsiteX3" fmla="*/ 653869 w 856339"/>
                <a:gd name="connsiteY3" fmla="*/ 774383 h 813661"/>
                <a:gd name="connsiteX4" fmla="*/ 651011 w 856339"/>
                <a:gd name="connsiteY4" fmla="*/ 782955 h 813661"/>
                <a:gd name="connsiteX5" fmla="*/ 654821 w 856339"/>
                <a:gd name="connsiteY5" fmla="*/ 798195 h 813661"/>
                <a:gd name="connsiteX6" fmla="*/ 663394 w 856339"/>
                <a:gd name="connsiteY6" fmla="*/ 810578 h 813661"/>
                <a:gd name="connsiteX7" fmla="*/ 672919 w 856339"/>
                <a:gd name="connsiteY7" fmla="*/ 813435 h 813661"/>
                <a:gd name="connsiteX8" fmla="*/ 684349 w 856339"/>
                <a:gd name="connsiteY8" fmla="*/ 804863 h 813661"/>
                <a:gd name="connsiteX9" fmla="*/ 692921 w 856339"/>
                <a:gd name="connsiteY9" fmla="*/ 799148 h 813661"/>
                <a:gd name="connsiteX10" fmla="*/ 698636 w 856339"/>
                <a:gd name="connsiteY10" fmla="*/ 799148 h 813661"/>
                <a:gd name="connsiteX11" fmla="*/ 701494 w 856339"/>
                <a:gd name="connsiteY11" fmla="*/ 784860 h 813661"/>
                <a:gd name="connsiteX12" fmla="*/ 710066 w 856339"/>
                <a:gd name="connsiteY12" fmla="*/ 767715 h 813661"/>
                <a:gd name="connsiteX13" fmla="*/ 706256 w 856339"/>
                <a:gd name="connsiteY13" fmla="*/ 743903 h 813661"/>
                <a:gd name="connsiteX14" fmla="*/ 686254 w 856339"/>
                <a:gd name="connsiteY14" fmla="*/ 750570 h 813661"/>
                <a:gd name="connsiteX15" fmla="*/ 663394 w 856339"/>
                <a:gd name="connsiteY15" fmla="*/ 743903 h 813661"/>
                <a:gd name="connsiteX16" fmla="*/ 656726 w 856339"/>
                <a:gd name="connsiteY16" fmla="*/ 741998 h 813661"/>
                <a:gd name="connsiteX17" fmla="*/ 344306 w 856339"/>
                <a:gd name="connsiteY17" fmla="*/ 509588 h 813661"/>
                <a:gd name="connsiteX18" fmla="*/ 331924 w 856339"/>
                <a:gd name="connsiteY18" fmla="*/ 518160 h 813661"/>
                <a:gd name="connsiteX19" fmla="*/ 305254 w 856339"/>
                <a:gd name="connsiteY19" fmla="*/ 524828 h 813661"/>
                <a:gd name="connsiteX20" fmla="*/ 272869 w 856339"/>
                <a:gd name="connsiteY20" fmla="*/ 533400 h 813661"/>
                <a:gd name="connsiteX21" fmla="*/ 252866 w 856339"/>
                <a:gd name="connsiteY21" fmla="*/ 546735 h 813661"/>
                <a:gd name="connsiteX22" fmla="*/ 238579 w 856339"/>
                <a:gd name="connsiteY22" fmla="*/ 569595 h 813661"/>
                <a:gd name="connsiteX23" fmla="*/ 210956 w 856339"/>
                <a:gd name="connsiteY23" fmla="*/ 569595 h 813661"/>
                <a:gd name="connsiteX24" fmla="*/ 188096 w 856339"/>
                <a:gd name="connsiteY24" fmla="*/ 570548 h 813661"/>
                <a:gd name="connsiteX25" fmla="*/ 167141 w 856339"/>
                <a:gd name="connsiteY25" fmla="*/ 576263 h 813661"/>
                <a:gd name="connsiteX26" fmla="*/ 163331 w 856339"/>
                <a:gd name="connsiteY26" fmla="*/ 591503 h 813661"/>
                <a:gd name="connsiteX27" fmla="*/ 145234 w 856339"/>
                <a:gd name="connsiteY27" fmla="*/ 597218 h 813661"/>
                <a:gd name="connsiteX28" fmla="*/ 121421 w 856339"/>
                <a:gd name="connsiteY28" fmla="*/ 609600 h 813661"/>
                <a:gd name="connsiteX29" fmla="*/ 96656 w 856339"/>
                <a:gd name="connsiteY29" fmla="*/ 605790 h 813661"/>
                <a:gd name="connsiteX30" fmla="*/ 75701 w 856339"/>
                <a:gd name="connsiteY30" fmla="*/ 597218 h 813661"/>
                <a:gd name="connsiteX31" fmla="*/ 71891 w 856339"/>
                <a:gd name="connsiteY31" fmla="*/ 580073 h 813661"/>
                <a:gd name="connsiteX32" fmla="*/ 83321 w 856339"/>
                <a:gd name="connsiteY32" fmla="*/ 565785 h 813661"/>
                <a:gd name="connsiteX33" fmla="*/ 80464 w 856339"/>
                <a:gd name="connsiteY33" fmla="*/ 545783 h 813661"/>
                <a:gd name="connsiteX34" fmla="*/ 77606 w 856339"/>
                <a:gd name="connsiteY34" fmla="*/ 524828 h 813661"/>
                <a:gd name="connsiteX35" fmla="*/ 66176 w 856339"/>
                <a:gd name="connsiteY35" fmla="*/ 504825 h 813661"/>
                <a:gd name="connsiteX36" fmla="*/ 57604 w 856339"/>
                <a:gd name="connsiteY36" fmla="*/ 481013 h 813661"/>
                <a:gd name="connsiteX37" fmla="*/ 50936 w 856339"/>
                <a:gd name="connsiteY37" fmla="*/ 463868 h 813661"/>
                <a:gd name="connsiteX38" fmla="*/ 39506 w 856339"/>
                <a:gd name="connsiteY38" fmla="*/ 446723 h 813661"/>
                <a:gd name="connsiteX39" fmla="*/ 30934 w 856339"/>
                <a:gd name="connsiteY39" fmla="*/ 425768 h 813661"/>
                <a:gd name="connsiteX40" fmla="*/ 12836 w 856339"/>
                <a:gd name="connsiteY40" fmla="*/ 407670 h 813661"/>
                <a:gd name="connsiteX41" fmla="*/ 454 w 856339"/>
                <a:gd name="connsiteY41" fmla="*/ 390525 h 813661"/>
                <a:gd name="connsiteX42" fmla="*/ 20456 w 856339"/>
                <a:gd name="connsiteY42" fmla="*/ 408623 h 813661"/>
                <a:gd name="connsiteX43" fmla="*/ 13789 w 856339"/>
                <a:gd name="connsiteY43" fmla="*/ 390525 h 813661"/>
                <a:gd name="connsiteX44" fmla="*/ 30934 w 856339"/>
                <a:gd name="connsiteY44" fmla="*/ 402907 h 813661"/>
                <a:gd name="connsiteX45" fmla="*/ 4264 w 856339"/>
                <a:gd name="connsiteY45" fmla="*/ 359093 h 813661"/>
                <a:gd name="connsiteX46" fmla="*/ 10931 w 856339"/>
                <a:gd name="connsiteY46" fmla="*/ 331470 h 813661"/>
                <a:gd name="connsiteX47" fmla="*/ 7121 w 856339"/>
                <a:gd name="connsiteY47" fmla="*/ 313373 h 813661"/>
                <a:gd name="connsiteX48" fmla="*/ 13789 w 856339"/>
                <a:gd name="connsiteY48" fmla="*/ 298132 h 813661"/>
                <a:gd name="connsiteX49" fmla="*/ 17599 w 856339"/>
                <a:gd name="connsiteY49" fmla="*/ 313373 h 813661"/>
                <a:gd name="connsiteX50" fmla="*/ 27124 w 856339"/>
                <a:gd name="connsiteY50" fmla="*/ 295275 h 813661"/>
                <a:gd name="connsiteX51" fmla="*/ 53794 w 856339"/>
                <a:gd name="connsiteY51" fmla="*/ 273368 h 813661"/>
                <a:gd name="connsiteX52" fmla="*/ 78559 w 856339"/>
                <a:gd name="connsiteY52" fmla="*/ 261937 h 813661"/>
                <a:gd name="connsiteX53" fmla="*/ 89989 w 856339"/>
                <a:gd name="connsiteY53" fmla="*/ 253365 h 813661"/>
                <a:gd name="connsiteX54" fmla="*/ 105229 w 856339"/>
                <a:gd name="connsiteY54" fmla="*/ 252412 h 813661"/>
                <a:gd name="connsiteX55" fmla="*/ 117611 w 856339"/>
                <a:gd name="connsiteY55" fmla="*/ 240030 h 813661"/>
                <a:gd name="connsiteX56" fmla="*/ 147139 w 856339"/>
                <a:gd name="connsiteY56" fmla="*/ 231458 h 813661"/>
                <a:gd name="connsiteX57" fmla="*/ 173809 w 856339"/>
                <a:gd name="connsiteY57" fmla="*/ 201930 h 813661"/>
                <a:gd name="connsiteX58" fmla="*/ 183334 w 856339"/>
                <a:gd name="connsiteY58" fmla="*/ 184785 h 813661"/>
                <a:gd name="connsiteX59" fmla="*/ 176666 w 856339"/>
                <a:gd name="connsiteY59" fmla="*/ 164783 h 813661"/>
                <a:gd name="connsiteX60" fmla="*/ 194764 w 856339"/>
                <a:gd name="connsiteY60" fmla="*/ 144780 h 813661"/>
                <a:gd name="connsiteX61" fmla="*/ 201431 w 856339"/>
                <a:gd name="connsiteY61" fmla="*/ 160020 h 813661"/>
                <a:gd name="connsiteX62" fmla="*/ 215719 w 856339"/>
                <a:gd name="connsiteY62" fmla="*/ 160020 h 813661"/>
                <a:gd name="connsiteX63" fmla="*/ 211909 w 856339"/>
                <a:gd name="connsiteY63" fmla="*/ 147637 h 813661"/>
                <a:gd name="connsiteX64" fmla="*/ 202384 w 856339"/>
                <a:gd name="connsiteY64" fmla="*/ 138112 h 813661"/>
                <a:gd name="connsiteX65" fmla="*/ 222386 w 856339"/>
                <a:gd name="connsiteY65" fmla="*/ 138112 h 813661"/>
                <a:gd name="connsiteX66" fmla="*/ 234769 w 856339"/>
                <a:gd name="connsiteY66" fmla="*/ 132398 h 813661"/>
                <a:gd name="connsiteX67" fmla="*/ 226196 w 856339"/>
                <a:gd name="connsiteY67" fmla="*/ 112395 h 813661"/>
                <a:gd name="connsiteX68" fmla="*/ 243341 w 856339"/>
                <a:gd name="connsiteY68" fmla="*/ 106680 h 813661"/>
                <a:gd name="connsiteX69" fmla="*/ 243341 w 856339"/>
                <a:gd name="connsiteY69" fmla="*/ 95250 h 813661"/>
                <a:gd name="connsiteX70" fmla="*/ 258581 w 856339"/>
                <a:gd name="connsiteY70" fmla="*/ 88583 h 813661"/>
                <a:gd name="connsiteX71" fmla="*/ 267154 w 856339"/>
                <a:gd name="connsiteY71" fmla="*/ 77152 h 813661"/>
                <a:gd name="connsiteX72" fmla="*/ 281441 w 856339"/>
                <a:gd name="connsiteY72" fmla="*/ 77152 h 813661"/>
                <a:gd name="connsiteX73" fmla="*/ 288109 w 856339"/>
                <a:gd name="connsiteY73" fmla="*/ 71438 h 813661"/>
                <a:gd name="connsiteX74" fmla="*/ 305254 w 856339"/>
                <a:gd name="connsiteY74" fmla="*/ 82868 h 813661"/>
                <a:gd name="connsiteX75" fmla="*/ 316684 w 856339"/>
                <a:gd name="connsiteY75" fmla="*/ 100012 h 813661"/>
                <a:gd name="connsiteX76" fmla="*/ 332876 w 856339"/>
                <a:gd name="connsiteY76" fmla="*/ 98108 h 813661"/>
                <a:gd name="connsiteX77" fmla="*/ 346211 w 856339"/>
                <a:gd name="connsiteY77" fmla="*/ 100965 h 813661"/>
                <a:gd name="connsiteX78" fmla="*/ 346211 w 856339"/>
                <a:gd name="connsiteY78" fmla="*/ 85725 h 813661"/>
                <a:gd name="connsiteX79" fmla="*/ 350021 w 856339"/>
                <a:gd name="connsiteY79" fmla="*/ 74295 h 813661"/>
                <a:gd name="connsiteX80" fmla="*/ 355736 w 856339"/>
                <a:gd name="connsiteY80" fmla="*/ 60008 h 813661"/>
                <a:gd name="connsiteX81" fmla="*/ 355736 w 856339"/>
                <a:gd name="connsiteY81" fmla="*/ 48577 h 813661"/>
                <a:gd name="connsiteX82" fmla="*/ 375739 w 856339"/>
                <a:gd name="connsiteY82" fmla="*/ 36195 h 813661"/>
                <a:gd name="connsiteX83" fmla="*/ 396694 w 856339"/>
                <a:gd name="connsiteY83" fmla="*/ 29527 h 813661"/>
                <a:gd name="connsiteX84" fmla="*/ 414791 w 856339"/>
                <a:gd name="connsiteY84" fmla="*/ 28575 h 813661"/>
                <a:gd name="connsiteX85" fmla="*/ 414791 w 856339"/>
                <a:gd name="connsiteY85" fmla="*/ 16192 h 813661"/>
                <a:gd name="connsiteX86" fmla="*/ 402409 w 856339"/>
                <a:gd name="connsiteY86" fmla="*/ 6667 h 813661"/>
                <a:gd name="connsiteX87" fmla="*/ 419554 w 856339"/>
                <a:gd name="connsiteY87" fmla="*/ 6667 h 813661"/>
                <a:gd name="connsiteX88" fmla="*/ 431936 w 856339"/>
                <a:gd name="connsiteY88" fmla="*/ 16192 h 813661"/>
                <a:gd name="connsiteX89" fmla="*/ 456701 w 856339"/>
                <a:gd name="connsiteY89" fmla="*/ 21908 h 813661"/>
                <a:gd name="connsiteX90" fmla="*/ 471941 w 856339"/>
                <a:gd name="connsiteY90" fmla="*/ 24765 h 813661"/>
                <a:gd name="connsiteX91" fmla="*/ 481466 w 856339"/>
                <a:gd name="connsiteY91" fmla="*/ 28575 h 813661"/>
                <a:gd name="connsiteX92" fmla="*/ 504326 w 856339"/>
                <a:gd name="connsiteY92" fmla="*/ 14288 h 813661"/>
                <a:gd name="connsiteX93" fmla="*/ 521471 w 856339"/>
                <a:gd name="connsiteY93" fmla="*/ 1905 h 813661"/>
                <a:gd name="connsiteX94" fmla="*/ 507184 w 856339"/>
                <a:gd name="connsiteY94" fmla="*/ 20002 h 813661"/>
                <a:gd name="connsiteX95" fmla="*/ 498611 w 856339"/>
                <a:gd name="connsiteY95" fmla="*/ 26670 h 813661"/>
                <a:gd name="connsiteX96" fmla="*/ 518614 w 856339"/>
                <a:gd name="connsiteY96" fmla="*/ 27622 h 813661"/>
                <a:gd name="connsiteX97" fmla="*/ 512899 w 856339"/>
                <a:gd name="connsiteY97" fmla="*/ 50483 h 813661"/>
                <a:gd name="connsiteX98" fmla="*/ 495754 w 856339"/>
                <a:gd name="connsiteY98" fmla="*/ 56197 h 813661"/>
                <a:gd name="connsiteX99" fmla="*/ 496706 w 856339"/>
                <a:gd name="connsiteY99" fmla="*/ 71438 h 813661"/>
                <a:gd name="connsiteX100" fmla="*/ 492896 w 856339"/>
                <a:gd name="connsiteY100" fmla="*/ 83820 h 813661"/>
                <a:gd name="connsiteX101" fmla="*/ 491944 w 856339"/>
                <a:gd name="connsiteY101" fmla="*/ 101918 h 813661"/>
                <a:gd name="connsiteX102" fmla="*/ 503374 w 856339"/>
                <a:gd name="connsiteY102" fmla="*/ 114300 h 813661"/>
                <a:gd name="connsiteX103" fmla="*/ 515756 w 856339"/>
                <a:gd name="connsiteY103" fmla="*/ 117158 h 813661"/>
                <a:gd name="connsiteX104" fmla="*/ 522424 w 856339"/>
                <a:gd name="connsiteY104" fmla="*/ 123825 h 813661"/>
                <a:gd name="connsiteX105" fmla="*/ 533854 w 856339"/>
                <a:gd name="connsiteY105" fmla="*/ 130493 h 813661"/>
                <a:gd name="connsiteX106" fmla="*/ 542426 w 856339"/>
                <a:gd name="connsiteY106" fmla="*/ 134303 h 813661"/>
                <a:gd name="connsiteX107" fmla="*/ 554809 w 856339"/>
                <a:gd name="connsiteY107" fmla="*/ 143828 h 813661"/>
                <a:gd name="connsiteX108" fmla="*/ 569096 w 856339"/>
                <a:gd name="connsiteY108" fmla="*/ 152400 h 813661"/>
                <a:gd name="connsiteX109" fmla="*/ 580526 w 856339"/>
                <a:gd name="connsiteY109" fmla="*/ 164783 h 813661"/>
                <a:gd name="connsiteX110" fmla="*/ 604339 w 856339"/>
                <a:gd name="connsiteY110" fmla="*/ 161925 h 813661"/>
                <a:gd name="connsiteX111" fmla="*/ 616721 w 856339"/>
                <a:gd name="connsiteY111" fmla="*/ 144780 h 813661"/>
                <a:gd name="connsiteX112" fmla="*/ 620531 w 856339"/>
                <a:gd name="connsiteY112" fmla="*/ 130493 h 813661"/>
                <a:gd name="connsiteX113" fmla="*/ 624341 w 856339"/>
                <a:gd name="connsiteY113" fmla="*/ 119062 h 813661"/>
                <a:gd name="connsiteX114" fmla="*/ 628151 w 856339"/>
                <a:gd name="connsiteY114" fmla="*/ 100965 h 813661"/>
                <a:gd name="connsiteX115" fmla="*/ 628151 w 856339"/>
                <a:gd name="connsiteY115" fmla="*/ 86677 h 813661"/>
                <a:gd name="connsiteX116" fmla="*/ 629104 w 856339"/>
                <a:gd name="connsiteY116" fmla="*/ 69533 h 813661"/>
                <a:gd name="connsiteX117" fmla="*/ 631961 w 856339"/>
                <a:gd name="connsiteY117" fmla="*/ 54293 h 813661"/>
                <a:gd name="connsiteX118" fmla="*/ 635771 w 856339"/>
                <a:gd name="connsiteY118" fmla="*/ 44768 h 813661"/>
                <a:gd name="connsiteX119" fmla="*/ 635771 w 856339"/>
                <a:gd name="connsiteY119" fmla="*/ 29527 h 813661"/>
                <a:gd name="connsiteX120" fmla="*/ 644344 w 856339"/>
                <a:gd name="connsiteY120" fmla="*/ 20002 h 813661"/>
                <a:gd name="connsiteX121" fmla="*/ 648154 w 856339"/>
                <a:gd name="connsiteY121" fmla="*/ 6667 h 813661"/>
                <a:gd name="connsiteX122" fmla="*/ 657679 w 856339"/>
                <a:gd name="connsiteY122" fmla="*/ 0 h 813661"/>
                <a:gd name="connsiteX123" fmla="*/ 663394 w 856339"/>
                <a:gd name="connsiteY123" fmla="*/ 9525 h 813661"/>
                <a:gd name="connsiteX124" fmla="*/ 663394 w 856339"/>
                <a:gd name="connsiteY124" fmla="*/ 23813 h 813661"/>
                <a:gd name="connsiteX125" fmla="*/ 669109 w 856339"/>
                <a:gd name="connsiteY125" fmla="*/ 32385 h 813661"/>
                <a:gd name="connsiteX126" fmla="*/ 670061 w 856339"/>
                <a:gd name="connsiteY126" fmla="*/ 39052 h 813661"/>
                <a:gd name="connsiteX127" fmla="*/ 669109 w 856339"/>
                <a:gd name="connsiteY127" fmla="*/ 44768 h 813661"/>
                <a:gd name="connsiteX128" fmla="*/ 674824 w 856339"/>
                <a:gd name="connsiteY128" fmla="*/ 48577 h 813661"/>
                <a:gd name="connsiteX129" fmla="*/ 674824 w 856339"/>
                <a:gd name="connsiteY129" fmla="*/ 57150 h 813661"/>
                <a:gd name="connsiteX130" fmla="*/ 677681 w 856339"/>
                <a:gd name="connsiteY130" fmla="*/ 62865 h 813661"/>
                <a:gd name="connsiteX131" fmla="*/ 677681 w 856339"/>
                <a:gd name="connsiteY131" fmla="*/ 80010 h 813661"/>
                <a:gd name="connsiteX132" fmla="*/ 680539 w 856339"/>
                <a:gd name="connsiteY132" fmla="*/ 89535 h 813661"/>
                <a:gd name="connsiteX133" fmla="*/ 687206 w 856339"/>
                <a:gd name="connsiteY133" fmla="*/ 96202 h 813661"/>
                <a:gd name="connsiteX134" fmla="*/ 698636 w 856339"/>
                <a:gd name="connsiteY134" fmla="*/ 93345 h 813661"/>
                <a:gd name="connsiteX135" fmla="*/ 705304 w 856339"/>
                <a:gd name="connsiteY135" fmla="*/ 99060 h 813661"/>
                <a:gd name="connsiteX136" fmla="*/ 713876 w 856339"/>
                <a:gd name="connsiteY136" fmla="*/ 108585 h 813661"/>
                <a:gd name="connsiteX137" fmla="*/ 713876 w 856339"/>
                <a:gd name="connsiteY137" fmla="*/ 117158 h 813661"/>
                <a:gd name="connsiteX138" fmla="*/ 713876 w 856339"/>
                <a:gd name="connsiteY138" fmla="*/ 126683 h 813661"/>
                <a:gd name="connsiteX139" fmla="*/ 716734 w 856339"/>
                <a:gd name="connsiteY139" fmla="*/ 136208 h 813661"/>
                <a:gd name="connsiteX140" fmla="*/ 713876 w 856339"/>
                <a:gd name="connsiteY140" fmla="*/ 145733 h 813661"/>
                <a:gd name="connsiteX141" fmla="*/ 722449 w 856339"/>
                <a:gd name="connsiteY141" fmla="*/ 157162 h 813661"/>
                <a:gd name="connsiteX142" fmla="*/ 726259 w 856339"/>
                <a:gd name="connsiteY142" fmla="*/ 171450 h 813661"/>
                <a:gd name="connsiteX143" fmla="*/ 726259 w 856339"/>
                <a:gd name="connsiteY143" fmla="*/ 182880 h 813661"/>
                <a:gd name="connsiteX144" fmla="*/ 727211 w 856339"/>
                <a:gd name="connsiteY144" fmla="*/ 192405 h 813661"/>
                <a:gd name="connsiteX145" fmla="*/ 730069 w 856339"/>
                <a:gd name="connsiteY145" fmla="*/ 201930 h 813661"/>
                <a:gd name="connsiteX146" fmla="*/ 733879 w 856339"/>
                <a:gd name="connsiteY146" fmla="*/ 217170 h 813661"/>
                <a:gd name="connsiteX147" fmla="*/ 745309 w 856339"/>
                <a:gd name="connsiteY147" fmla="*/ 222885 h 813661"/>
                <a:gd name="connsiteX148" fmla="*/ 753881 w 856339"/>
                <a:gd name="connsiteY148" fmla="*/ 225743 h 813661"/>
                <a:gd name="connsiteX149" fmla="*/ 762454 w 856339"/>
                <a:gd name="connsiteY149" fmla="*/ 234315 h 813661"/>
                <a:gd name="connsiteX150" fmla="*/ 771979 w 856339"/>
                <a:gd name="connsiteY150" fmla="*/ 242887 h 813661"/>
                <a:gd name="connsiteX151" fmla="*/ 780551 w 856339"/>
                <a:gd name="connsiteY151" fmla="*/ 254318 h 813661"/>
                <a:gd name="connsiteX152" fmla="*/ 784361 w 856339"/>
                <a:gd name="connsiteY152" fmla="*/ 269557 h 813661"/>
                <a:gd name="connsiteX153" fmla="*/ 792934 w 856339"/>
                <a:gd name="connsiteY153" fmla="*/ 281940 h 813661"/>
                <a:gd name="connsiteX154" fmla="*/ 792934 w 856339"/>
                <a:gd name="connsiteY154" fmla="*/ 294323 h 813661"/>
                <a:gd name="connsiteX155" fmla="*/ 795791 w 856339"/>
                <a:gd name="connsiteY155" fmla="*/ 302895 h 813661"/>
                <a:gd name="connsiteX156" fmla="*/ 802459 w 856339"/>
                <a:gd name="connsiteY156" fmla="*/ 299085 h 813661"/>
                <a:gd name="connsiteX157" fmla="*/ 806269 w 856339"/>
                <a:gd name="connsiteY157" fmla="*/ 305753 h 813661"/>
                <a:gd name="connsiteX158" fmla="*/ 811984 w 856339"/>
                <a:gd name="connsiteY158" fmla="*/ 306705 h 813661"/>
                <a:gd name="connsiteX159" fmla="*/ 817699 w 856339"/>
                <a:gd name="connsiteY159" fmla="*/ 310515 h 813661"/>
                <a:gd name="connsiteX160" fmla="*/ 814841 w 856339"/>
                <a:gd name="connsiteY160" fmla="*/ 324803 h 813661"/>
                <a:gd name="connsiteX161" fmla="*/ 814841 w 856339"/>
                <a:gd name="connsiteY161" fmla="*/ 330518 h 813661"/>
                <a:gd name="connsiteX162" fmla="*/ 823414 w 856339"/>
                <a:gd name="connsiteY162" fmla="*/ 336232 h 813661"/>
                <a:gd name="connsiteX163" fmla="*/ 829129 w 856339"/>
                <a:gd name="connsiteY163" fmla="*/ 348615 h 813661"/>
                <a:gd name="connsiteX164" fmla="*/ 837701 w 856339"/>
                <a:gd name="connsiteY164" fmla="*/ 360998 h 813661"/>
                <a:gd name="connsiteX165" fmla="*/ 846274 w 856339"/>
                <a:gd name="connsiteY165" fmla="*/ 372428 h 813661"/>
                <a:gd name="connsiteX166" fmla="*/ 850084 w 856339"/>
                <a:gd name="connsiteY166" fmla="*/ 381953 h 813661"/>
                <a:gd name="connsiteX167" fmla="*/ 852941 w 856339"/>
                <a:gd name="connsiteY167" fmla="*/ 390525 h 813661"/>
                <a:gd name="connsiteX168" fmla="*/ 855799 w 856339"/>
                <a:gd name="connsiteY168" fmla="*/ 397193 h 813661"/>
                <a:gd name="connsiteX169" fmla="*/ 854846 w 856339"/>
                <a:gd name="connsiteY169" fmla="*/ 406718 h 813661"/>
                <a:gd name="connsiteX170" fmla="*/ 855799 w 856339"/>
                <a:gd name="connsiteY170" fmla="*/ 416243 h 813661"/>
                <a:gd name="connsiteX171" fmla="*/ 855799 w 856339"/>
                <a:gd name="connsiteY171" fmla="*/ 430530 h 813661"/>
                <a:gd name="connsiteX172" fmla="*/ 854846 w 856339"/>
                <a:gd name="connsiteY172" fmla="*/ 439103 h 813661"/>
                <a:gd name="connsiteX173" fmla="*/ 855799 w 856339"/>
                <a:gd name="connsiteY173" fmla="*/ 448628 h 813661"/>
                <a:gd name="connsiteX174" fmla="*/ 851989 w 856339"/>
                <a:gd name="connsiteY174" fmla="*/ 472440 h 813661"/>
                <a:gd name="connsiteX175" fmla="*/ 846274 w 856339"/>
                <a:gd name="connsiteY175" fmla="*/ 486728 h 813661"/>
                <a:gd name="connsiteX176" fmla="*/ 836749 w 856339"/>
                <a:gd name="connsiteY176" fmla="*/ 507682 h 813661"/>
                <a:gd name="connsiteX177" fmla="*/ 833891 w 856339"/>
                <a:gd name="connsiteY177" fmla="*/ 524828 h 813661"/>
                <a:gd name="connsiteX178" fmla="*/ 827224 w 856339"/>
                <a:gd name="connsiteY178" fmla="*/ 540068 h 813661"/>
                <a:gd name="connsiteX179" fmla="*/ 817699 w 856339"/>
                <a:gd name="connsiteY179" fmla="*/ 555308 h 813661"/>
                <a:gd name="connsiteX180" fmla="*/ 805316 w 856339"/>
                <a:gd name="connsiteY180" fmla="*/ 563880 h 813661"/>
                <a:gd name="connsiteX181" fmla="*/ 793886 w 856339"/>
                <a:gd name="connsiteY181" fmla="*/ 575310 h 813661"/>
                <a:gd name="connsiteX182" fmla="*/ 784361 w 856339"/>
                <a:gd name="connsiteY182" fmla="*/ 589598 h 813661"/>
                <a:gd name="connsiteX183" fmla="*/ 780551 w 856339"/>
                <a:gd name="connsiteY183" fmla="*/ 607695 h 813661"/>
                <a:gd name="connsiteX184" fmla="*/ 768169 w 856339"/>
                <a:gd name="connsiteY184" fmla="*/ 621983 h 813661"/>
                <a:gd name="connsiteX185" fmla="*/ 762454 w 856339"/>
                <a:gd name="connsiteY185" fmla="*/ 637223 h 813661"/>
                <a:gd name="connsiteX186" fmla="*/ 756739 w 856339"/>
                <a:gd name="connsiteY186" fmla="*/ 655320 h 813661"/>
                <a:gd name="connsiteX187" fmla="*/ 753881 w 856339"/>
                <a:gd name="connsiteY187" fmla="*/ 667703 h 813661"/>
                <a:gd name="connsiteX188" fmla="*/ 739594 w 856339"/>
                <a:gd name="connsiteY188" fmla="*/ 673418 h 813661"/>
                <a:gd name="connsiteX189" fmla="*/ 724354 w 856339"/>
                <a:gd name="connsiteY189" fmla="*/ 676275 h 813661"/>
                <a:gd name="connsiteX190" fmla="*/ 706256 w 856339"/>
                <a:gd name="connsiteY190" fmla="*/ 679133 h 813661"/>
                <a:gd name="connsiteX191" fmla="*/ 693874 w 856339"/>
                <a:gd name="connsiteY191" fmla="*/ 688658 h 813661"/>
                <a:gd name="connsiteX192" fmla="*/ 684349 w 856339"/>
                <a:gd name="connsiteY192" fmla="*/ 689610 h 813661"/>
                <a:gd name="connsiteX193" fmla="*/ 687206 w 856339"/>
                <a:gd name="connsiteY193" fmla="*/ 696278 h 813661"/>
                <a:gd name="connsiteX194" fmla="*/ 678634 w 856339"/>
                <a:gd name="connsiteY194" fmla="*/ 699135 h 813661"/>
                <a:gd name="connsiteX195" fmla="*/ 669109 w 856339"/>
                <a:gd name="connsiteY195" fmla="*/ 687705 h 813661"/>
                <a:gd name="connsiteX196" fmla="*/ 654821 w 856339"/>
                <a:gd name="connsiteY196" fmla="*/ 679133 h 813661"/>
                <a:gd name="connsiteX197" fmla="*/ 657679 w 856339"/>
                <a:gd name="connsiteY197" fmla="*/ 672465 h 813661"/>
                <a:gd name="connsiteX198" fmla="*/ 653869 w 856339"/>
                <a:gd name="connsiteY198" fmla="*/ 666750 h 813661"/>
                <a:gd name="connsiteX199" fmla="*/ 648154 w 856339"/>
                <a:gd name="connsiteY199" fmla="*/ 675323 h 813661"/>
                <a:gd name="connsiteX200" fmla="*/ 638629 w 856339"/>
                <a:gd name="connsiteY200" fmla="*/ 681038 h 813661"/>
                <a:gd name="connsiteX201" fmla="*/ 627199 w 856339"/>
                <a:gd name="connsiteY201" fmla="*/ 687705 h 813661"/>
                <a:gd name="connsiteX202" fmla="*/ 615769 w 856339"/>
                <a:gd name="connsiteY202" fmla="*/ 681038 h 813661"/>
                <a:gd name="connsiteX203" fmla="*/ 603386 w 856339"/>
                <a:gd name="connsiteY203" fmla="*/ 674370 h 813661"/>
                <a:gd name="connsiteX204" fmla="*/ 591004 w 856339"/>
                <a:gd name="connsiteY204" fmla="*/ 674370 h 813661"/>
                <a:gd name="connsiteX205" fmla="*/ 576716 w 856339"/>
                <a:gd name="connsiteY205" fmla="*/ 664845 h 813661"/>
                <a:gd name="connsiteX206" fmla="*/ 567191 w 856339"/>
                <a:gd name="connsiteY206" fmla="*/ 656273 h 813661"/>
                <a:gd name="connsiteX207" fmla="*/ 560524 w 856339"/>
                <a:gd name="connsiteY207" fmla="*/ 638175 h 813661"/>
                <a:gd name="connsiteX208" fmla="*/ 556714 w 856339"/>
                <a:gd name="connsiteY208" fmla="*/ 620078 h 813661"/>
                <a:gd name="connsiteX209" fmla="*/ 550999 w 856339"/>
                <a:gd name="connsiteY209" fmla="*/ 604838 h 813661"/>
                <a:gd name="connsiteX210" fmla="*/ 547189 w 856339"/>
                <a:gd name="connsiteY210" fmla="*/ 598170 h 813661"/>
                <a:gd name="connsiteX211" fmla="*/ 535759 w 856339"/>
                <a:gd name="connsiteY211" fmla="*/ 601028 h 813661"/>
                <a:gd name="connsiteX212" fmla="*/ 534806 w 856339"/>
                <a:gd name="connsiteY212" fmla="*/ 595313 h 813661"/>
                <a:gd name="connsiteX213" fmla="*/ 540521 w 856339"/>
                <a:gd name="connsiteY213" fmla="*/ 585788 h 813661"/>
                <a:gd name="connsiteX214" fmla="*/ 531949 w 856339"/>
                <a:gd name="connsiteY214" fmla="*/ 570548 h 813661"/>
                <a:gd name="connsiteX215" fmla="*/ 526234 w 856339"/>
                <a:gd name="connsiteY215" fmla="*/ 579120 h 813661"/>
                <a:gd name="connsiteX216" fmla="*/ 516709 w 856339"/>
                <a:gd name="connsiteY216" fmla="*/ 591503 h 813661"/>
                <a:gd name="connsiteX217" fmla="*/ 505279 w 856339"/>
                <a:gd name="connsiteY217" fmla="*/ 592455 h 813661"/>
                <a:gd name="connsiteX218" fmla="*/ 516709 w 856339"/>
                <a:gd name="connsiteY218" fmla="*/ 582930 h 813661"/>
                <a:gd name="connsiteX219" fmla="*/ 520519 w 856339"/>
                <a:gd name="connsiteY219" fmla="*/ 574358 h 813661"/>
                <a:gd name="connsiteX220" fmla="*/ 523376 w 856339"/>
                <a:gd name="connsiteY220" fmla="*/ 560070 h 813661"/>
                <a:gd name="connsiteX221" fmla="*/ 527186 w 856339"/>
                <a:gd name="connsiteY221" fmla="*/ 547688 h 813661"/>
                <a:gd name="connsiteX222" fmla="*/ 526234 w 856339"/>
                <a:gd name="connsiteY222" fmla="*/ 529590 h 813661"/>
                <a:gd name="connsiteX223" fmla="*/ 520519 w 856339"/>
                <a:gd name="connsiteY223" fmla="*/ 541973 h 813661"/>
                <a:gd name="connsiteX224" fmla="*/ 508136 w 856339"/>
                <a:gd name="connsiteY224" fmla="*/ 554355 h 813661"/>
                <a:gd name="connsiteX225" fmla="*/ 495754 w 856339"/>
                <a:gd name="connsiteY225" fmla="*/ 566738 h 813661"/>
                <a:gd name="connsiteX226" fmla="*/ 490039 w 856339"/>
                <a:gd name="connsiteY226" fmla="*/ 578168 h 813661"/>
                <a:gd name="connsiteX227" fmla="*/ 478609 w 856339"/>
                <a:gd name="connsiteY227" fmla="*/ 578168 h 813661"/>
                <a:gd name="connsiteX228" fmla="*/ 479561 w 856339"/>
                <a:gd name="connsiteY228" fmla="*/ 566738 h 813661"/>
                <a:gd name="connsiteX229" fmla="*/ 470989 w 856339"/>
                <a:gd name="connsiteY229" fmla="*/ 554355 h 813661"/>
                <a:gd name="connsiteX230" fmla="*/ 464321 w 856339"/>
                <a:gd name="connsiteY230" fmla="*/ 545783 h 813661"/>
                <a:gd name="connsiteX231" fmla="*/ 454796 w 856339"/>
                <a:gd name="connsiteY231" fmla="*/ 537210 h 813661"/>
                <a:gd name="connsiteX232" fmla="*/ 448129 w 856339"/>
                <a:gd name="connsiteY232" fmla="*/ 520065 h 813661"/>
                <a:gd name="connsiteX233" fmla="*/ 432889 w 856339"/>
                <a:gd name="connsiteY233" fmla="*/ 514350 h 813661"/>
                <a:gd name="connsiteX234" fmla="*/ 412886 w 856339"/>
                <a:gd name="connsiteY234" fmla="*/ 507682 h 813661"/>
                <a:gd name="connsiteX235" fmla="*/ 396694 w 856339"/>
                <a:gd name="connsiteY235" fmla="*/ 498157 h 813661"/>
                <a:gd name="connsiteX236" fmla="*/ 372881 w 856339"/>
                <a:gd name="connsiteY236" fmla="*/ 503873 h 813661"/>
                <a:gd name="connsiteX237" fmla="*/ 344306 w 856339"/>
                <a:gd name="connsiteY237" fmla="*/ 509588 h 81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856339" h="813661">
                  <a:moveTo>
                    <a:pt x="656726" y="741998"/>
                  </a:moveTo>
                  <a:cubicBezTo>
                    <a:pt x="650059" y="739140"/>
                    <a:pt x="647201" y="741045"/>
                    <a:pt x="645296" y="744855"/>
                  </a:cubicBezTo>
                  <a:cubicBezTo>
                    <a:pt x="644344" y="748665"/>
                    <a:pt x="644344" y="748665"/>
                    <a:pt x="645296" y="756285"/>
                  </a:cubicBezTo>
                  <a:cubicBezTo>
                    <a:pt x="646249" y="762953"/>
                    <a:pt x="649106" y="768668"/>
                    <a:pt x="653869" y="774383"/>
                  </a:cubicBezTo>
                  <a:cubicBezTo>
                    <a:pt x="653869" y="774383"/>
                    <a:pt x="653869" y="778193"/>
                    <a:pt x="651011" y="782955"/>
                  </a:cubicBezTo>
                  <a:cubicBezTo>
                    <a:pt x="648154" y="786765"/>
                    <a:pt x="650059" y="789623"/>
                    <a:pt x="654821" y="798195"/>
                  </a:cubicBezTo>
                  <a:cubicBezTo>
                    <a:pt x="659584" y="806768"/>
                    <a:pt x="660536" y="804863"/>
                    <a:pt x="663394" y="810578"/>
                  </a:cubicBezTo>
                  <a:cubicBezTo>
                    <a:pt x="666251" y="816293"/>
                    <a:pt x="667204" y="811530"/>
                    <a:pt x="672919" y="813435"/>
                  </a:cubicBezTo>
                  <a:cubicBezTo>
                    <a:pt x="678634" y="814388"/>
                    <a:pt x="679586" y="812483"/>
                    <a:pt x="684349" y="804863"/>
                  </a:cubicBezTo>
                  <a:cubicBezTo>
                    <a:pt x="688159" y="798195"/>
                    <a:pt x="688159" y="798195"/>
                    <a:pt x="692921" y="799148"/>
                  </a:cubicBezTo>
                  <a:cubicBezTo>
                    <a:pt x="696731" y="800100"/>
                    <a:pt x="695779" y="804863"/>
                    <a:pt x="698636" y="799148"/>
                  </a:cubicBezTo>
                  <a:cubicBezTo>
                    <a:pt x="701494" y="793433"/>
                    <a:pt x="699589" y="792480"/>
                    <a:pt x="701494" y="784860"/>
                  </a:cubicBezTo>
                  <a:cubicBezTo>
                    <a:pt x="702446" y="778193"/>
                    <a:pt x="707209" y="776288"/>
                    <a:pt x="710066" y="767715"/>
                  </a:cubicBezTo>
                  <a:cubicBezTo>
                    <a:pt x="712924" y="759143"/>
                    <a:pt x="713876" y="746760"/>
                    <a:pt x="706256" y="743903"/>
                  </a:cubicBezTo>
                  <a:cubicBezTo>
                    <a:pt x="698636" y="741045"/>
                    <a:pt x="696731" y="749618"/>
                    <a:pt x="686254" y="750570"/>
                  </a:cubicBezTo>
                  <a:cubicBezTo>
                    <a:pt x="676729" y="751523"/>
                    <a:pt x="671014" y="747713"/>
                    <a:pt x="663394" y="743903"/>
                  </a:cubicBezTo>
                  <a:cubicBezTo>
                    <a:pt x="664346" y="744855"/>
                    <a:pt x="664346" y="744855"/>
                    <a:pt x="656726" y="741998"/>
                  </a:cubicBezTo>
                  <a:close/>
                  <a:moveTo>
                    <a:pt x="344306" y="509588"/>
                  </a:moveTo>
                  <a:cubicBezTo>
                    <a:pt x="341449" y="510540"/>
                    <a:pt x="336686" y="513398"/>
                    <a:pt x="331924" y="518160"/>
                  </a:cubicBezTo>
                  <a:cubicBezTo>
                    <a:pt x="323351" y="526733"/>
                    <a:pt x="314779" y="524828"/>
                    <a:pt x="305254" y="524828"/>
                  </a:cubicBezTo>
                  <a:cubicBezTo>
                    <a:pt x="295729" y="524828"/>
                    <a:pt x="282394" y="525780"/>
                    <a:pt x="272869" y="533400"/>
                  </a:cubicBezTo>
                  <a:cubicBezTo>
                    <a:pt x="263344" y="540068"/>
                    <a:pt x="262391" y="537210"/>
                    <a:pt x="252866" y="546735"/>
                  </a:cubicBezTo>
                  <a:cubicBezTo>
                    <a:pt x="243341" y="556260"/>
                    <a:pt x="249056" y="566738"/>
                    <a:pt x="238579" y="569595"/>
                  </a:cubicBezTo>
                  <a:cubicBezTo>
                    <a:pt x="229054" y="572453"/>
                    <a:pt x="221434" y="569595"/>
                    <a:pt x="210956" y="569595"/>
                  </a:cubicBezTo>
                  <a:cubicBezTo>
                    <a:pt x="199526" y="569595"/>
                    <a:pt x="199526" y="566738"/>
                    <a:pt x="188096" y="570548"/>
                  </a:cubicBezTo>
                  <a:cubicBezTo>
                    <a:pt x="176666" y="574358"/>
                    <a:pt x="172856" y="571500"/>
                    <a:pt x="167141" y="576263"/>
                  </a:cubicBezTo>
                  <a:cubicBezTo>
                    <a:pt x="161426" y="580073"/>
                    <a:pt x="167141" y="588645"/>
                    <a:pt x="163331" y="591503"/>
                  </a:cubicBezTo>
                  <a:cubicBezTo>
                    <a:pt x="159521" y="594360"/>
                    <a:pt x="153806" y="588645"/>
                    <a:pt x="145234" y="597218"/>
                  </a:cubicBezTo>
                  <a:cubicBezTo>
                    <a:pt x="136661" y="605790"/>
                    <a:pt x="132851" y="608648"/>
                    <a:pt x="121421" y="609600"/>
                  </a:cubicBezTo>
                  <a:cubicBezTo>
                    <a:pt x="109991" y="610553"/>
                    <a:pt x="104276" y="608648"/>
                    <a:pt x="96656" y="605790"/>
                  </a:cubicBezTo>
                  <a:cubicBezTo>
                    <a:pt x="88084" y="602933"/>
                    <a:pt x="82369" y="602933"/>
                    <a:pt x="75701" y="597218"/>
                  </a:cubicBezTo>
                  <a:cubicBezTo>
                    <a:pt x="69034" y="591503"/>
                    <a:pt x="67129" y="582930"/>
                    <a:pt x="71891" y="580073"/>
                  </a:cubicBezTo>
                  <a:cubicBezTo>
                    <a:pt x="76654" y="577215"/>
                    <a:pt x="84274" y="577215"/>
                    <a:pt x="83321" y="565785"/>
                  </a:cubicBezTo>
                  <a:cubicBezTo>
                    <a:pt x="82369" y="554355"/>
                    <a:pt x="77606" y="556260"/>
                    <a:pt x="80464" y="545783"/>
                  </a:cubicBezTo>
                  <a:cubicBezTo>
                    <a:pt x="83321" y="536258"/>
                    <a:pt x="83321" y="534353"/>
                    <a:pt x="77606" y="524828"/>
                  </a:cubicBezTo>
                  <a:cubicBezTo>
                    <a:pt x="71891" y="515303"/>
                    <a:pt x="73796" y="518160"/>
                    <a:pt x="66176" y="504825"/>
                  </a:cubicBezTo>
                  <a:cubicBezTo>
                    <a:pt x="58556" y="491490"/>
                    <a:pt x="59509" y="492443"/>
                    <a:pt x="57604" y="481013"/>
                  </a:cubicBezTo>
                  <a:cubicBezTo>
                    <a:pt x="56651" y="469582"/>
                    <a:pt x="58556" y="475298"/>
                    <a:pt x="50936" y="463868"/>
                  </a:cubicBezTo>
                  <a:cubicBezTo>
                    <a:pt x="42364" y="452438"/>
                    <a:pt x="45221" y="457200"/>
                    <a:pt x="39506" y="446723"/>
                  </a:cubicBezTo>
                  <a:cubicBezTo>
                    <a:pt x="33791" y="437198"/>
                    <a:pt x="38554" y="431482"/>
                    <a:pt x="30934" y="425768"/>
                  </a:cubicBezTo>
                  <a:cubicBezTo>
                    <a:pt x="24266" y="420053"/>
                    <a:pt x="16646" y="411480"/>
                    <a:pt x="12836" y="407670"/>
                  </a:cubicBezTo>
                  <a:cubicBezTo>
                    <a:pt x="9026" y="403860"/>
                    <a:pt x="-2404" y="393382"/>
                    <a:pt x="454" y="390525"/>
                  </a:cubicBezTo>
                  <a:cubicBezTo>
                    <a:pt x="3311" y="387668"/>
                    <a:pt x="17599" y="411480"/>
                    <a:pt x="20456" y="408623"/>
                  </a:cubicBezTo>
                  <a:cubicBezTo>
                    <a:pt x="23314" y="405765"/>
                    <a:pt x="10931" y="394335"/>
                    <a:pt x="13789" y="390525"/>
                  </a:cubicBezTo>
                  <a:cubicBezTo>
                    <a:pt x="16646" y="386715"/>
                    <a:pt x="26171" y="408623"/>
                    <a:pt x="30934" y="402907"/>
                  </a:cubicBezTo>
                  <a:cubicBezTo>
                    <a:pt x="34744" y="397193"/>
                    <a:pt x="3311" y="366713"/>
                    <a:pt x="4264" y="359093"/>
                  </a:cubicBezTo>
                  <a:cubicBezTo>
                    <a:pt x="5216" y="352425"/>
                    <a:pt x="10931" y="338138"/>
                    <a:pt x="10931" y="331470"/>
                  </a:cubicBezTo>
                  <a:cubicBezTo>
                    <a:pt x="10931" y="324803"/>
                    <a:pt x="5216" y="320040"/>
                    <a:pt x="7121" y="313373"/>
                  </a:cubicBezTo>
                  <a:cubicBezTo>
                    <a:pt x="8074" y="306705"/>
                    <a:pt x="7121" y="299085"/>
                    <a:pt x="13789" y="298132"/>
                  </a:cubicBezTo>
                  <a:cubicBezTo>
                    <a:pt x="20456" y="297180"/>
                    <a:pt x="12836" y="316230"/>
                    <a:pt x="17599" y="313373"/>
                  </a:cubicBezTo>
                  <a:cubicBezTo>
                    <a:pt x="23314" y="310515"/>
                    <a:pt x="21409" y="300990"/>
                    <a:pt x="27124" y="295275"/>
                  </a:cubicBezTo>
                  <a:cubicBezTo>
                    <a:pt x="30934" y="291465"/>
                    <a:pt x="43316" y="282893"/>
                    <a:pt x="53794" y="273368"/>
                  </a:cubicBezTo>
                  <a:cubicBezTo>
                    <a:pt x="63319" y="263843"/>
                    <a:pt x="69034" y="261937"/>
                    <a:pt x="78559" y="261937"/>
                  </a:cubicBezTo>
                  <a:cubicBezTo>
                    <a:pt x="88084" y="261937"/>
                    <a:pt x="82369" y="260985"/>
                    <a:pt x="89989" y="253365"/>
                  </a:cubicBezTo>
                  <a:cubicBezTo>
                    <a:pt x="97609" y="245745"/>
                    <a:pt x="101419" y="252412"/>
                    <a:pt x="105229" y="252412"/>
                  </a:cubicBezTo>
                  <a:cubicBezTo>
                    <a:pt x="109039" y="252412"/>
                    <a:pt x="110944" y="240982"/>
                    <a:pt x="117611" y="240030"/>
                  </a:cubicBezTo>
                  <a:cubicBezTo>
                    <a:pt x="124279" y="239078"/>
                    <a:pt x="137614" y="236220"/>
                    <a:pt x="147139" y="231458"/>
                  </a:cubicBezTo>
                  <a:cubicBezTo>
                    <a:pt x="156664" y="227648"/>
                    <a:pt x="170951" y="208598"/>
                    <a:pt x="173809" y="201930"/>
                  </a:cubicBezTo>
                  <a:cubicBezTo>
                    <a:pt x="176666" y="195262"/>
                    <a:pt x="183334" y="187643"/>
                    <a:pt x="183334" y="184785"/>
                  </a:cubicBezTo>
                  <a:cubicBezTo>
                    <a:pt x="183334" y="181928"/>
                    <a:pt x="171904" y="172403"/>
                    <a:pt x="176666" y="164783"/>
                  </a:cubicBezTo>
                  <a:cubicBezTo>
                    <a:pt x="180476" y="158115"/>
                    <a:pt x="189049" y="143828"/>
                    <a:pt x="194764" y="144780"/>
                  </a:cubicBezTo>
                  <a:cubicBezTo>
                    <a:pt x="200479" y="145733"/>
                    <a:pt x="195716" y="159068"/>
                    <a:pt x="201431" y="160020"/>
                  </a:cubicBezTo>
                  <a:cubicBezTo>
                    <a:pt x="207146" y="160973"/>
                    <a:pt x="215719" y="166687"/>
                    <a:pt x="215719" y="160020"/>
                  </a:cubicBezTo>
                  <a:cubicBezTo>
                    <a:pt x="215719" y="153353"/>
                    <a:pt x="216671" y="151448"/>
                    <a:pt x="211909" y="147637"/>
                  </a:cubicBezTo>
                  <a:cubicBezTo>
                    <a:pt x="206194" y="143828"/>
                    <a:pt x="202384" y="140970"/>
                    <a:pt x="202384" y="138112"/>
                  </a:cubicBezTo>
                  <a:cubicBezTo>
                    <a:pt x="202384" y="135255"/>
                    <a:pt x="213814" y="135255"/>
                    <a:pt x="222386" y="138112"/>
                  </a:cubicBezTo>
                  <a:cubicBezTo>
                    <a:pt x="230959" y="140970"/>
                    <a:pt x="237626" y="138112"/>
                    <a:pt x="234769" y="132398"/>
                  </a:cubicBezTo>
                  <a:cubicBezTo>
                    <a:pt x="231911" y="126683"/>
                    <a:pt x="223339" y="118110"/>
                    <a:pt x="226196" y="112395"/>
                  </a:cubicBezTo>
                  <a:cubicBezTo>
                    <a:pt x="229054" y="106680"/>
                    <a:pt x="237626" y="111443"/>
                    <a:pt x="243341" y="106680"/>
                  </a:cubicBezTo>
                  <a:cubicBezTo>
                    <a:pt x="249056" y="102870"/>
                    <a:pt x="236674" y="100965"/>
                    <a:pt x="243341" y="95250"/>
                  </a:cubicBezTo>
                  <a:cubicBezTo>
                    <a:pt x="250009" y="89535"/>
                    <a:pt x="251914" y="88583"/>
                    <a:pt x="258581" y="88583"/>
                  </a:cubicBezTo>
                  <a:cubicBezTo>
                    <a:pt x="265249" y="88583"/>
                    <a:pt x="261439" y="80010"/>
                    <a:pt x="267154" y="77152"/>
                  </a:cubicBezTo>
                  <a:cubicBezTo>
                    <a:pt x="272869" y="74295"/>
                    <a:pt x="278584" y="82868"/>
                    <a:pt x="281441" y="77152"/>
                  </a:cubicBezTo>
                  <a:cubicBezTo>
                    <a:pt x="284299" y="71438"/>
                    <a:pt x="284299" y="71438"/>
                    <a:pt x="288109" y="71438"/>
                  </a:cubicBezTo>
                  <a:cubicBezTo>
                    <a:pt x="291919" y="71438"/>
                    <a:pt x="297634" y="77152"/>
                    <a:pt x="305254" y="82868"/>
                  </a:cubicBezTo>
                  <a:cubicBezTo>
                    <a:pt x="311921" y="88583"/>
                    <a:pt x="306206" y="94298"/>
                    <a:pt x="316684" y="100012"/>
                  </a:cubicBezTo>
                  <a:cubicBezTo>
                    <a:pt x="322399" y="100965"/>
                    <a:pt x="323351" y="97155"/>
                    <a:pt x="332876" y="98108"/>
                  </a:cubicBezTo>
                  <a:lnTo>
                    <a:pt x="346211" y="100965"/>
                  </a:lnTo>
                  <a:cubicBezTo>
                    <a:pt x="351926" y="98108"/>
                    <a:pt x="350021" y="91440"/>
                    <a:pt x="346211" y="85725"/>
                  </a:cubicBezTo>
                  <a:cubicBezTo>
                    <a:pt x="342401" y="80010"/>
                    <a:pt x="347164" y="80010"/>
                    <a:pt x="350021" y="74295"/>
                  </a:cubicBezTo>
                  <a:cubicBezTo>
                    <a:pt x="352879" y="68580"/>
                    <a:pt x="347164" y="62865"/>
                    <a:pt x="355736" y="60008"/>
                  </a:cubicBezTo>
                  <a:cubicBezTo>
                    <a:pt x="364309" y="57150"/>
                    <a:pt x="352879" y="54293"/>
                    <a:pt x="355736" y="48577"/>
                  </a:cubicBezTo>
                  <a:cubicBezTo>
                    <a:pt x="358594" y="42863"/>
                    <a:pt x="368119" y="44768"/>
                    <a:pt x="375739" y="36195"/>
                  </a:cubicBezTo>
                  <a:cubicBezTo>
                    <a:pt x="382406" y="27622"/>
                    <a:pt x="388121" y="26670"/>
                    <a:pt x="396694" y="29527"/>
                  </a:cubicBezTo>
                  <a:cubicBezTo>
                    <a:pt x="405266" y="32385"/>
                    <a:pt x="408124" y="32385"/>
                    <a:pt x="414791" y="28575"/>
                  </a:cubicBezTo>
                  <a:cubicBezTo>
                    <a:pt x="421459" y="24765"/>
                    <a:pt x="417649" y="20002"/>
                    <a:pt x="414791" y="16192"/>
                  </a:cubicBezTo>
                  <a:cubicBezTo>
                    <a:pt x="411934" y="12383"/>
                    <a:pt x="397646" y="12383"/>
                    <a:pt x="402409" y="6667"/>
                  </a:cubicBezTo>
                  <a:cubicBezTo>
                    <a:pt x="407171" y="952"/>
                    <a:pt x="416696" y="2857"/>
                    <a:pt x="419554" y="6667"/>
                  </a:cubicBezTo>
                  <a:cubicBezTo>
                    <a:pt x="422411" y="10477"/>
                    <a:pt x="428126" y="9525"/>
                    <a:pt x="431936" y="16192"/>
                  </a:cubicBezTo>
                  <a:cubicBezTo>
                    <a:pt x="435746" y="22860"/>
                    <a:pt x="446224" y="15240"/>
                    <a:pt x="456701" y="21908"/>
                  </a:cubicBezTo>
                  <a:cubicBezTo>
                    <a:pt x="467179" y="28575"/>
                    <a:pt x="459559" y="27622"/>
                    <a:pt x="471941" y="24765"/>
                  </a:cubicBezTo>
                  <a:cubicBezTo>
                    <a:pt x="484324" y="21908"/>
                    <a:pt x="474799" y="27622"/>
                    <a:pt x="481466" y="28575"/>
                  </a:cubicBezTo>
                  <a:cubicBezTo>
                    <a:pt x="488134" y="29527"/>
                    <a:pt x="495754" y="21908"/>
                    <a:pt x="504326" y="14288"/>
                  </a:cubicBezTo>
                  <a:cubicBezTo>
                    <a:pt x="512899" y="7620"/>
                    <a:pt x="515756" y="-953"/>
                    <a:pt x="521471" y="1905"/>
                  </a:cubicBezTo>
                  <a:cubicBezTo>
                    <a:pt x="526234" y="4763"/>
                    <a:pt x="515756" y="13335"/>
                    <a:pt x="507184" y="20002"/>
                  </a:cubicBezTo>
                  <a:cubicBezTo>
                    <a:pt x="498611" y="26670"/>
                    <a:pt x="491944" y="22860"/>
                    <a:pt x="498611" y="26670"/>
                  </a:cubicBezTo>
                  <a:cubicBezTo>
                    <a:pt x="505279" y="30480"/>
                    <a:pt x="515756" y="20002"/>
                    <a:pt x="518614" y="27622"/>
                  </a:cubicBezTo>
                  <a:cubicBezTo>
                    <a:pt x="521471" y="36195"/>
                    <a:pt x="518614" y="41910"/>
                    <a:pt x="512899" y="50483"/>
                  </a:cubicBezTo>
                  <a:cubicBezTo>
                    <a:pt x="507184" y="59055"/>
                    <a:pt x="495754" y="49530"/>
                    <a:pt x="495754" y="56197"/>
                  </a:cubicBezTo>
                  <a:cubicBezTo>
                    <a:pt x="495754" y="62865"/>
                    <a:pt x="499564" y="62865"/>
                    <a:pt x="496706" y="71438"/>
                  </a:cubicBezTo>
                  <a:cubicBezTo>
                    <a:pt x="493849" y="80010"/>
                    <a:pt x="496706" y="77152"/>
                    <a:pt x="492896" y="83820"/>
                  </a:cubicBezTo>
                  <a:cubicBezTo>
                    <a:pt x="489086" y="90487"/>
                    <a:pt x="483371" y="96202"/>
                    <a:pt x="491944" y="101918"/>
                  </a:cubicBezTo>
                  <a:cubicBezTo>
                    <a:pt x="500516" y="107633"/>
                    <a:pt x="495754" y="111443"/>
                    <a:pt x="503374" y="114300"/>
                  </a:cubicBezTo>
                  <a:cubicBezTo>
                    <a:pt x="510041" y="117158"/>
                    <a:pt x="509089" y="113348"/>
                    <a:pt x="515756" y="117158"/>
                  </a:cubicBezTo>
                  <a:cubicBezTo>
                    <a:pt x="522424" y="120968"/>
                    <a:pt x="515756" y="120015"/>
                    <a:pt x="522424" y="123825"/>
                  </a:cubicBezTo>
                  <a:cubicBezTo>
                    <a:pt x="529091" y="127635"/>
                    <a:pt x="528139" y="126683"/>
                    <a:pt x="533854" y="130493"/>
                  </a:cubicBezTo>
                  <a:cubicBezTo>
                    <a:pt x="533854" y="130493"/>
                    <a:pt x="539569" y="130493"/>
                    <a:pt x="542426" y="134303"/>
                  </a:cubicBezTo>
                  <a:lnTo>
                    <a:pt x="554809" y="143828"/>
                  </a:lnTo>
                  <a:cubicBezTo>
                    <a:pt x="561476" y="144780"/>
                    <a:pt x="567191" y="144780"/>
                    <a:pt x="569096" y="152400"/>
                  </a:cubicBezTo>
                  <a:cubicBezTo>
                    <a:pt x="570049" y="159068"/>
                    <a:pt x="574811" y="161925"/>
                    <a:pt x="580526" y="164783"/>
                  </a:cubicBezTo>
                  <a:cubicBezTo>
                    <a:pt x="586241" y="167640"/>
                    <a:pt x="598624" y="168593"/>
                    <a:pt x="604339" y="161925"/>
                  </a:cubicBezTo>
                  <a:cubicBezTo>
                    <a:pt x="610054" y="155258"/>
                    <a:pt x="615769" y="150495"/>
                    <a:pt x="616721" y="144780"/>
                  </a:cubicBezTo>
                  <a:cubicBezTo>
                    <a:pt x="617674" y="139065"/>
                    <a:pt x="617674" y="136208"/>
                    <a:pt x="620531" y="130493"/>
                  </a:cubicBezTo>
                  <a:cubicBezTo>
                    <a:pt x="623389" y="124777"/>
                    <a:pt x="624341" y="124777"/>
                    <a:pt x="624341" y="119062"/>
                  </a:cubicBezTo>
                  <a:cubicBezTo>
                    <a:pt x="624341" y="113348"/>
                    <a:pt x="628151" y="106680"/>
                    <a:pt x="628151" y="100965"/>
                  </a:cubicBezTo>
                  <a:cubicBezTo>
                    <a:pt x="628151" y="95250"/>
                    <a:pt x="631009" y="91440"/>
                    <a:pt x="628151" y="86677"/>
                  </a:cubicBezTo>
                  <a:cubicBezTo>
                    <a:pt x="625294" y="82868"/>
                    <a:pt x="629104" y="74295"/>
                    <a:pt x="629104" y="69533"/>
                  </a:cubicBezTo>
                  <a:cubicBezTo>
                    <a:pt x="629104" y="65723"/>
                    <a:pt x="629104" y="57150"/>
                    <a:pt x="631961" y="54293"/>
                  </a:cubicBezTo>
                  <a:cubicBezTo>
                    <a:pt x="634819" y="51435"/>
                    <a:pt x="637676" y="48577"/>
                    <a:pt x="635771" y="44768"/>
                  </a:cubicBezTo>
                  <a:cubicBezTo>
                    <a:pt x="634819" y="40958"/>
                    <a:pt x="632914" y="33338"/>
                    <a:pt x="635771" y="29527"/>
                  </a:cubicBezTo>
                  <a:cubicBezTo>
                    <a:pt x="638629" y="25717"/>
                    <a:pt x="641486" y="25717"/>
                    <a:pt x="644344" y="20002"/>
                  </a:cubicBezTo>
                  <a:cubicBezTo>
                    <a:pt x="649106" y="16192"/>
                    <a:pt x="643391" y="10477"/>
                    <a:pt x="648154" y="6667"/>
                  </a:cubicBezTo>
                  <a:cubicBezTo>
                    <a:pt x="651964" y="2857"/>
                    <a:pt x="653869" y="0"/>
                    <a:pt x="657679" y="0"/>
                  </a:cubicBezTo>
                  <a:cubicBezTo>
                    <a:pt x="661489" y="0"/>
                    <a:pt x="661489" y="3810"/>
                    <a:pt x="663394" y="9525"/>
                  </a:cubicBezTo>
                  <a:cubicBezTo>
                    <a:pt x="664346" y="15240"/>
                    <a:pt x="662441" y="19050"/>
                    <a:pt x="663394" y="23813"/>
                  </a:cubicBezTo>
                  <a:cubicBezTo>
                    <a:pt x="664346" y="27622"/>
                    <a:pt x="664346" y="29527"/>
                    <a:pt x="669109" y="32385"/>
                  </a:cubicBezTo>
                  <a:cubicBezTo>
                    <a:pt x="672919" y="35243"/>
                    <a:pt x="671966" y="36195"/>
                    <a:pt x="670061" y="39052"/>
                  </a:cubicBezTo>
                  <a:cubicBezTo>
                    <a:pt x="669109" y="41910"/>
                    <a:pt x="666251" y="41910"/>
                    <a:pt x="669109" y="44768"/>
                  </a:cubicBezTo>
                  <a:cubicBezTo>
                    <a:pt x="671966" y="47625"/>
                    <a:pt x="672919" y="43815"/>
                    <a:pt x="674824" y="48577"/>
                  </a:cubicBezTo>
                  <a:cubicBezTo>
                    <a:pt x="675776" y="54293"/>
                    <a:pt x="673871" y="54293"/>
                    <a:pt x="674824" y="57150"/>
                  </a:cubicBezTo>
                  <a:cubicBezTo>
                    <a:pt x="675776" y="60008"/>
                    <a:pt x="677681" y="56197"/>
                    <a:pt x="677681" y="62865"/>
                  </a:cubicBezTo>
                  <a:cubicBezTo>
                    <a:pt x="677681" y="69533"/>
                    <a:pt x="676729" y="72390"/>
                    <a:pt x="677681" y="80010"/>
                  </a:cubicBezTo>
                  <a:cubicBezTo>
                    <a:pt x="678634" y="86677"/>
                    <a:pt x="677681" y="83820"/>
                    <a:pt x="680539" y="89535"/>
                  </a:cubicBezTo>
                  <a:cubicBezTo>
                    <a:pt x="683396" y="95250"/>
                    <a:pt x="681491" y="96202"/>
                    <a:pt x="687206" y="96202"/>
                  </a:cubicBezTo>
                  <a:cubicBezTo>
                    <a:pt x="692921" y="96202"/>
                    <a:pt x="692921" y="90487"/>
                    <a:pt x="698636" y="93345"/>
                  </a:cubicBezTo>
                  <a:cubicBezTo>
                    <a:pt x="704351" y="96202"/>
                    <a:pt x="701494" y="93345"/>
                    <a:pt x="705304" y="99060"/>
                  </a:cubicBezTo>
                  <a:cubicBezTo>
                    <a:pt x="709114" y="104775"/>
                    <a:pt x="711019" y="102870"/>
                    <a:pt x="713876" y="108585"/>
                  </a:cubicBezTo>
                  <a:cubicBezTo>
                    <a:pt x="716734" y="114300"/>
                    <a:pt x="714829" y="112395"/>
                    <a:pt x="713876" y="117158"/>
                  </a:cubicBezTo>
                  <a:cubicBezTo>
                    <a:pt x="712924" y="120968"/>
                    <a:pt x="712924" y="120968"/>
                    <a:pt x="713876" y="126683"/>
                  </a:cubicBezTo>
                  <a:cubicBezTo>
                    <a:pt x="714829" y="132398"/>
                    <a:pt x="716734" y="129540"/>
                    <a:pt x="716734" y="136208"/>
                  </a:cubicBezTo>
                  <a:cubicBezTo>
                    <a:pt x="716734" y="142875"/>
                    <a:pt x="711019" y="141923"/>
                    <a:pt x="713876" y="145733"/>
                  </a:cubicBezTo>
                  <a:cubicBezTo>
                    <a:pt x="716734" y="149543"/>
                    <a:pt x="719591" y="149543"/>
                    <a:pt x="722449" y="157162"/>
                  </a:cubicBezTo>
                  <a:cubicBezTo>
                    <a:pt x="725306" y="163830"/>
                    <a:pt x="726259" y="163830"/>
                    <a:pt x="726259" y="171450"/>
                  </a:cubicBezTo>
                  <a:cubicBezTo>
                    <a:pt x="726259" y="179070"/>
                    <a:pt x="729116" y="177165"/>
                    <a:pt x="726259" y="182880"/>
                  </a:cubicBezTo>
                  <a:cubicBezTo>
                    <a:pt x="723401" y="188595"/>
                    <a:pt x="725306" y="189548"/>
                    <a:pt x="727211" y="192405"/>
                  </a:cubicBezTo>
                  <a:cubicBezTo>
                    <a:pt x="730069" y="195262"/>
                    <a:pt x="731021" y="198120"/>
                    <a:pt x="730069" y="201930"/>
                  </a:cubicBezTo>
                  <a:cubicBezTo>
                    <a:pt x="729116" y="205740"/>
                    <a:pt x="730069" y="214312"/>
                    <a:pt x="733879" y="217170"/>
                  </a:cubicBezTo>
                  <a:cubicBezTo>
                    <a:pt x="737689" y="220028"/>
                    <a:pt x="740546" y="218123"/>
                    <a:pt x="745309" y="222885"/>
                  </a:cubicBezTo>
                  <a:cubicBezTo>
                    <a:pt x="749119" y="226695"/>
                    <a:pt x="749119" y="221933"/>
                    <a:pt x="753881" y="225743"/>
                  </a:cubicBezTo>
                  <a:cubicBezTo>
                    <a:pt x="757691" y="229553"/>
                    <a:pt x="757691" y="231458"/>
                    <a:pt x="762454" y="234315"/>
                  </a:cubicBezTo>
                  <a:cubicBezTo>
                    <a:pt x="766264" y="237173"/>
                    <a:pt x="766264" y="238125"/>
                    <a:pt x="771979" y="242887"/>
                  </a:cubicBezTo>
                  <a:cubicBezTo>
                    <a:pt x="777694" y="246698"/>
                    <a:pt x="780551" y="246698"/>
                    <a:pt x="780551" y="254318"/>
                  </a:cubicBezTo>
                  <a:cubicBezTo>
                    <a:pt x="780551" y="260985"/>
                    <a:pt x="779599" y="263843"/>
                    <a:pt x="784361" y="269557"/>
                  </a:cubicBezTo>
                  <a:cubicBezTo>
                    <a:pt x="790076" y="275273"/>
                    <a:pt x="792934" y="275273"/>
                    <a:pt x="792934" y="281940"/>
                  </a:cubicBezTo>
                  <a:cubicBezTo>
                    <a:pt x="792934" y="288607"/>
                    <a:pt x="790076" y="288607"/>
                    <a:pt x="792934" y="294323"/>
                  </a:cubicBezTo>
                  <a:cubicBezTo>
                    <a:pt x="795791" y="300038"/>
                    <a:pt x="790076" y="300990"/>
                    <a:pt x="795791" y="302895"/>
                  </a:cubicBezTo>
                  <a:cubicBezTo>
                    <a:pt x="801506" y="303848"/>
                    <a:pt x="796744" y="299085"/>
                    <a:pt x="802459" y="299085"/>
                  </a:cubicBezTo>
                  <a:cubicBezTo>
                    <a:pt x="808174" y="299085"/>
                    <a:pt x="803411" y="302895"/>
                    <a:pt x="806269" y="305753"/>
                  </a:cubicBezTo>
                  <a:cubicBezTo>
                    <a:pt x="809126" y="308610"/>
                    <a:pt x="806269" y="306705"/>
                    <a:pt x="811984" y="306705"/>
                  </a:cubicBezTo>
                  <a:cubicBezTo>
                    <a:pt x="817699" y="306705"/>
                    <a:pt x="817699" y="303848"/>
                    <a:pt x="817699" y="310515"/>
                  </a:cubicBezTo>
                  <a:cubicBezTo>
                    <a:pt x="817699" y="317182"/>
                    <a:pt x="816746" y="319088"/>
                    <a:pt x="814841" y="324803"/>
                  </a:cubicBezTo>
                  <a:cubicBezTo>
                    <a:pt x="813889" y="330518"/>
                    <a:pt x="811031" y="327660"/>
                    <a:pt x="814841" y="330518"/>
                  </a:cubicBezTo>
                  <a:cubicBezTo>
                    <a:pt x="818651" y="333375"/>
                    <a:pt x="821509" y="330518"/>
                    <a:pt x="823414" y="336232"/>
                  </a:cubicBezTo>
                  <a:cubicBezTo>
                    <a:pt x="824366" y="341948"/>
                    <a:pt x="824366" y="344805"/>
                    <a:pt x="829129" y="348615"/>
                  </a:cubicBezTo>
                  <a:cubicBezTo>
                    <a:pt x="832939" y="352425"/>
                    <a:pt x="832939" y="355282"/>
                    <a:pt x="837701" y="360998"/>
                  </a:cubicBezTo>
                  <a:cubicBezTo>
                    <a:pt x="842464" y="366713"/>
                    <a:pt x="843416" y="366713"/>
                    <a:pt x="846274" y="372428"/>
                  </a:cubicBezTo>
                  <a:cubicBezTo>
                    <a:pt x="849131" y="378143"/>
                    <a:pt x="846274" y="378143"/>
                    <a:pt x="850084" y="381953"/>
                  </a:cubicBezTo>
                  <a:cubicBezTo>
                    <a:pt x="853894" y="385763"/>
                    <a:pt x="851036" y="384810"/>
                    <a:pt x="852941" y="390525"/>
                  </a:cubicBezTo>
                  <a:cubicBezTo>
                    <a:pt x="853894" y="396240"/>
                    <a:pt x="855799" y="391478"/>
                    <a:pt x="855799" y="397193"/>
                  </a:cubicBezTo>
                  <a:cubicBezTo>
                    <a:pt x="855799" y="402907"/>
                    <a:pt x="855799" y="401003"/>
                    <a:pt x="854846" y="406718"/>
                  </a:cubicBezTo>
                  <a:cubicBezTo>
                    <a:pt x="853894" y="412432"/>
                    <a:pt x="857704" y="409575"/>
                    <a:pt x="855799" y="416243"/>
                  </a:cubicBezTo>
                  <a:cubicBezTo>
                    <a:pt x="854846" y="422910"/>
                    <a:pt x="856751" y="422910"/>
                    <a:pt x="855799" y="430530"/>
                  </a:cubicBezTo>
                  <a:cubicBezTo>
                    <a:pt x="854846" y="437198"/>
                    <a:pt x="854846" y="430530"/>
                    <a:pt x="854846" y="439103"/>
                  </a:cubicBezTo>
                  <a:lnTo>
                    <a:pt x="855799" y="448628"/>
                  </a:lnTo>
                  <a:cubicBezTo>
                    <a:pt x="855799" y="448628"/>
                    <a:pt x="855799" y="462915"/>
                    <a:pt x="851989" y="472440"/>
                  </a:cubicBezTo>
                  <a:cubicBezTo>
                    <a:pt x="848179" y="481965"/>
                    <a:pt x="848179" y="478155"/>
                    <a:pt x="846274" y="486728"/>
                  </a:cubicBezTo>
                  <a:cubicBezTo>
                    <a:pt x="845321" y="495300"/>
                    <a:pt x="842464" y="499110"/>
                    <a:pt x="836749" y="507682"/>
                  </a:cubicBezTo>
                  <a:cubicBezTo>
                    <a:pt x="831034" y="516255"/>
                    <a:pt x="837701" y="516255"/>
                    <a:pt x="833891" y="524828"/>
                  </a:cubicBezTo>
                  <a:cubicBezTo>
                    <a:pt x="830081" y="533400"/>
                    <a:pt x="832939" y="531495"/>
                    <a:pt x="827224" y="540068"/>
                  </a:cubicBezTo>
                  <a:cubicBezTo>
                    <a:pt x="821509" y="548640"/>
                    <a:pt x="821509" y="548640"/>
                    <a:pt x="817699" y="555308"/>
                  </a:cubicBezTo>
                  <a:cubicBezTo>
                    <a:pt x="813889" y="561975"/>
                    <a:pt x="809126" y="559118"/>
                    <a:pt x="805316" y="563880"/>
                  </a:cubicBezTo>
                  <a:cubicBezTo>
                    <a:pt x="801506" y="567690"/>
                    <a:pt x="798649" y="570548"/>
                    <a:pt x="793886" y="575310"/>
                  </a:cubicBezTo>
                  <a:cubicBezTo>
                    <a:pt x="790076" y="579120"/>
                    <a:pt x="787219" y="581978"/>
                    <a:pt x="784361" y="589598"/>
                  </a:cubicBezTo>
                  <a:cubicBezTo>
                    <a:pt x="781504" y="597218"/>
                    <a:pt x="783409" y="599123"/>
                    <a:pt x="780551" y="607695"/>
                  </a:cubicBezTo>
                  <a:cubicBezTo>
                    <a:pt x="777694" y="616268"/>
                    <a:pt x="774836" y="613410"/>
                    <a:pt x="768169" y="621983"/>
                  </a:cubicBezTo>
                  <a:cubicBezTo>
                    <a:pt x="761501" y="630555"/>
                    <a:pt x="765311" y="633413"/>
                    <a:pt x="762454" y="637223"/>
                  </a:cubicBezTo>
                  <a:cubicBezTo>
                    <a:pt x="759596" y="641033"/>
                    <a:pt x="758644" y="646748"/>
                    <a:pt x="756739" y="655320"/>
                  </a:cubicBezTo>
                  <a:lnTo>
                    <a:pt x="753881" y="667703"/>
                  </a:lnTo>
                  <a:cubicBezTo>
                    <a:pt x="753881" y="667703"/>
                    <a:pt x="745309" y="671513"/>
                    <a:pt x="739594" y="673418"/>
                  </a:cubicBezTo>
                  <a:cubicBezTo>
                    <a:pt x="733879" y="674370"/>
                    <a:pt x="731021" y="674370"/>
                    <a:pt x="724354" y="676275"/>
                  </a:cubicBezTo>
                  <a:cubicBezTo>
                    <a:pt x="717686" y="677228"/>
                    <a:pt x="711971" y="676275"/>
                    <a:pt x="706256" y="679133"/>
                  </a:cubicBezTo>
                  <a:cubicBezTo>
                    <a:pt x="700541" y="681990"/>
                    <a:pt x="699589" y="684848"/>
                    <a:pt x="693874" y="688658"/>
                  </a:cubicBezTo>
                  <a:cubicBezTo>
                    <a:pt x="688159" y="692468"/>
                    <a:pt x="688159" y="685800"/>
                    <a:pt x="684349" y="689610"/>
                  </a:cubicBezTo>
                  <a:cubicBezTo>
                    <a:pt x="684349" y="689610"/>
                    <a:pt x="685301" y="692468"/>
                    <a:pt x="687206" y="696278"/>
                  </a:cubicBezTo>
                  <a:cubicBezTo>
                    <a:pt x="688159" y="700088"/>
                    <a:pt x="681491" y="700088"/>
                    <a:pt x="678634" y="699135"/>
                  </a:cubicBezTo>
                  <a:cubicBezTo>
                    <a:pt x="675776" y="698183"/>
                    <a:pt x="672919" y="693420"/>
                    <a:pt x="669109" y="687705"/>
                  </a:cubicBezTo>
                  <a:cubicBezTo>
                    <a:pt x="665299" y="681990"/>
                    <a:pt x="660536" y="681038"/>
                    <a:pt x="654821" y="679133"/>
                  </a:cubicBezTo>
                  <a:cubicBezTo>
                    <a:pt x="649106" y="678180"/>
                    <a:pt x="655774" y="675323"/>
                    <a:pt x="657679" y="672465"/>
                  </a:cubicBezTo>
                  <a:cubicBezTo>
                    <a:pt x="658631" y="669608"/>
                    <a:pt x="658631" y="665798"/>
                    <a:pt x="653869" y="666750"/>
                  </a:cubicBezTo>
                  <a:cubicBezTo>
                    <a:pt x="648154" y="667703"/>
                    <a:pt x="652916" y="669608"/>
                    <a:pt x="648154" y="675323"/>
                  </a:cubicBezTo>
                  <a:cubicBezTo>
                    <a:pt x="644344" y="681038"/>
                    <a:pt x="642439" y="678180"/>
                    <a:pt x="638629" y="681038"/>
                  </a:cubicBezTo>
                  <a:cubicBezTo>
                    <a:pt x="634819" y="683895"/>
                    <a:pt x="632914" y="687705"/>
                    <a:pt x="627199" y="687705"/>
                  </a:cubicBezTo>
                  <a:cubicBezTo>
                    <a:pt x="621484" y="687705"/>
                    <a:pt x="621484" y="681038"/>
                    <a:pt x="615769" y="681038"/>
                  </a:cubicBezTo>
                  <a:cubicBezTo>
                    <a:pt x="610054" y="681038"/>
                    <a:pt x="609101" y="677228"/>
                    <a:pt x="603386" y="674370"/>
                  </a:cubicBezTo>
                  <a:cubicBezTo>
                    <a:pt x="597671" y="671513"/>
                    <a:pt x="596719" y="673418"/>
                    <a:pt x="591004" y="674370"/>
                  </a:cubicBezTo>
                  <a:lnTo>
                    <a:pt x="576716" y="664845"/>
                  </a:lnTo>
                  <a:cubicBezTo>
                    <a:pt x="571001" y="661035"/>
                    <a:pt x="572906" y="661035"/>
                    <a:pt x="567191" y="656273"/>
                  </a:cubicBezTo>
                  <a:cubicBezTo>
                    <a:pt x="561476" y="652463"/>
                    <a:pt x="557666" y="646748"/>
                    <a:pt x="560524" y="638175"/>
                  </a:cubicBezTo>
                  <a:cubicBezTo>
                    <a:pt x="563381" y="629603"/>
                    <a:pt x="560524" y="626745"/>
                    <a:pt x="556714" y="620078"/>
                  </a:cubicBezTo>
                  <a:cubicBezTo>
                    <a:pt x="552904" y="613410"/>
                    <a:pt x="552904" y="610553"/>
                    <a:pt x="550999" y="604838"/>
                  </a:cubicBezTo>
                  <a:cubicBezTo>
                    <a:pt x="549094" y="599123"/>
                    <a:pt x="553856" y="595313"/>
                    <a:pt x="547189" y="598170"/>
                  </a:cubicBezTo>
                  <a:cubicBezTo>
                    <a:pt x="540521" y="601028"/>
                    <a:pt x="544331" y="601028"/>
                    <a:pt x="535759" y="601028"/>
                  </a:cubicBezTo>
                  <a:cubicBezTo>
                    <a:pt x="527186" y="601028"/>
                    <a:pt x="531949" y="601028"/>
                    <a:pt x="534806" y="595313"/>
                  </a:cubicBezTo>
                  <a:cubicBezTo>
                    <a:pt x="537664" y="589598"/>
                    <a:pt x="543379" y="591503"/>
                    <a:pt x="540521" y="585788"/>
                  </a:cubicBezTo>
                  <a:cubicBezTo>
                    <a:pt x="537664" y="580073"/>
                    <a:pt x="534806" y="577215"/>
                    <a:pt x="531949" y="570548"/>
                  </a:cubicBezTo>
                  <a:cubicBezTo>
                    <a:pt x="529091" y="563880"/>
                    <a:pt x="526234" y="571500"/>
                    <a:pt x="526234" y="579120"/>
                  </a:cubicBezTo>
                  <a:cubicBezTo>
                    <a:pt x="526234" y="585788"/>
                    <a:pt x="520519" y="588645"/>
                    <a:pt x="516709" y="591503"/>
                  </a:cubicBezTo>
                  <a:cubicBezTo>
                    <a:pt x="512899" y="594360"/>
                    <a:pt x="508136" y="595313"/>
                    <a:pt x="505279" y="592455"/>
                  </a:cubicBezTo>
                  <a:cubicBezTo>
                    <a:pt x="502421" y="589598"/>
                    <a:pt x="513851" y="583883"/>
                    <a:pt x="516709" y="582930"/>
                  </a:cubicBezTo>
                  <a:cubicBezTo>
                    <a:pt x="519566" y="581978"/>
                    <a:pt x="519566" y="580073"/>
                    <a:pt x="520519" y="574358"/>
                  </a:cubicBezTo>
                  <a:cubicBezTo>
                    <a:pt x="521471" y="568643"/>
                    <a:pt x="521471" y="567690"/>
                    <a:pt x="523376" y="560070"/>
                  </a:cubicBezTo>
                  <a:cubicBezTo>
                    <a:pt x="524329" y="553403"/>
                    <a:pt x="527186" y="550545"/>
                    <a:pt x="527186" y="547688"/>
                  </a:cubicBezTo>
                  <a:cubicBezTo>
                    <a:pt x="527186" y="544830"/>
                    <a:pt x="528139" y="529590"/>
                    <a:pt x="526234" y="529590"/>
                  </a:cubicBezTo>
                  <a:cubicBezTo>
                    <a:pt x="523376" y="529590"/>
                    <a:pt x="522424" y="538163"/>
                    <a:pt x="520519" y="541973"/>
                  </a:cubicBezTo>
                  <a:cubicBezTo>
                    <a:pt x="519566" y="545783"/>
                    <a:pt x="516709" y="550545"/>
                    <a:pt x="508136" y="554355"/>
                  </a:cubicBezTo>
                  <a:cubicBezTo>
                    <a:pt x="499564" y="558165"/>
                    <a:pt x="499564" y="560070"/>
                    <a:pt x="495754" y="566738"/>
                  </a:cubicBezTo>
                  <a:cubicBezTo>
                    <a:pt x="491944" y="573405"/>
                    <a:pt x="491944" y="572453"/>
                    <a:pt x="490039" y="578168"/>
                  </a:cubicBezTo>
                  <a:cubicBezTo>
                    <a:pt x="489086" y="583883"/>
                    <a:pt x="481466" y="581978"/>
                    <a:pt x="478609" y="578168"/>
                  </a:cubicBezTo>
                  <a:cubicBezTo>
                    <a:pt x="475751" y="574358"/>
                    <a:pt x="479561" y="572453"/>
                    <a:pt x="479561" y="566738"/>
                  </a:cubicBezTo>
                  <a:cubicBezTo>
                    <a:pt x="479561" y="561023"/>
                    <a:pt x="475751" y="557213"/>
                    <a:pt x="470989" y="554355"/>
                  </a:cubicBezTo>
                  <a:cubicBezTo>
                    <a:pt x="467179" y="551498"/>
                    <a:pt x="465274" y="553403"/>
                    <a:pt x="464321" y="545783"/>
                  </a:cubicBezTo>
                  <a:cubicBezTo>
                    <a:pt x="463369" y="538163"/>
                    <a:pt x="460511" y="541973"/>
                    <a:pt x="454796" y="537210"/>
                  </a:cubicBezTo>
                  <a:cubicBezTo>
                    <a:pt x="449081" y="533400"/>
                    <a:pt x="450986" y="527685"/>
                    <a:pt x="448129" y="520065"/>
                  </a:cubicBezTo>
                  <a:cubicBezTo>
                    <a:pt x="445271" y="513398"/>
                    <a:pt x="435746" y="519113"/>
                    <a:pt x="432889" y="514350"/>
                  </a:cubicBezTo>
                  <a:cubicBezTo>
                    <a:pt x="430031" y="510540"/>
                    <a:pt x="418601" y="510540"/>
                    <a:pt x="412886" y="507682"/>
                  </a:cubicBezTo>
                  <a:cubicBezTo>
                    <a:pt x="407171" y="504825"/>
                    <a:pt x="405266" y="502920"/>
                    <a:pt x="396694" y="498157"/>
                  </a:cubicBezTo>
                  <a:cubicBezTo>
                    <a:pt x="388121" y="494348"/>
                    <a:pt x="382406" y="503873"/>
                    <a:pt x="372881" y="503873"/>
                  </a:cubicBezTo>
                  <a:lnTo>
                    <a:pt x="344306" y="509588"/>
                  </a:lnTo>
                  <a:close/>
                </a:path>
              </a:pathLst>
            </a:custGeom>
            <a:solidFill>
              <a:srgbClr val="A1E3FA"/>
            </a:solidFill>
            <a:ln w="28575" cap="flat">
              <a:solidFill>
                <a:schemeClr val="tx1"/>
              </a:solidFill>
              <a:prstDash val="solid"/>
              <a:miter/>
            </a:ln>
          </p:spPr>
          <p:txBody>
            <a:bodyPr rtlCol="0" anchor="ctr"/>
            <a:lstStyle/>
            <a:p>
              <a:pPr algn="r" rtl="1"/>
              <a:endParaRPr lang="en-US"/>
            </a:p>
          </p:txBody>
        </p:sp>
      </p:grpSp>
      <p:grpSp>
        <p:nvGrpSpPr>
          <p:cNvPr id="388" name="Group 387">
            <a:extLst>
              <a:ext uri="{FF2B5EF4-FFF2-40B4-BE49-F238E27FC236}">
                <a16:creationId xmlns:a16="http://schemas.microsoft.com/office/drawing/2014/main" id="{C958A095-71E1-43D8-959E-A0F0553A92C3}"/>
              </a:ext>
            </a:extLst>
          </p:cNvPr>
          <p:cNvGrpSpPr/>
          <p:nvPr/>
        </p:nvGrpSpPr>
        <p:grpSpPr>
          <a:xfrm flipH="1">
            <a:off x="4306171" y="4515347"/>
            <a:ext cx="587286" cy="420278"/>
            <a:chOff x="7862518" y="4255375"/>
            <a:chExt cx="796498" cy="569996"/>
          </a:xfrm>
        </p:grpSpPr>
        <p:pic>
          <p:nvPicPr>
            <p:cNvPr id="389" name="Picture 388">
              <a:extLst>
                <a:ext uri="{FF2B5EF4-FFF2-40B4-BE49-F238E27FC236}">
                  <a16:creationId xmlns:a16="http://schemas.microsoft.com/office/drawing/2014/main" id="{489CBD84-B243-4B74-B956-2BF829DB7EA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090452" y="4255375"/>
              <a:ext cx="568564" cy="569996"/>
            </a:xfrm>
            <a:prstGeom prst="rect">
              <a:avLst/>
            </a:prstGeom>
          </p:spPr>
        </p:pic>
        <p:grpSp>
          <p:nvGrpSpPr>
            <p:cNvPr id="390" name="Group 389">
              <a:extLst>
                <a:ext uri="{FF2B5EF4-FFF2-40B4-BE49-F238E27FC236}">
                  <a16:creationId xmlns:a16="http://schemas.microsoft.com/office/drawing/2014/main" id="{D6739B1E-AE7A-4444-A352-E196EBD67914}"/>
                </a:ext>
              </a:extLst>
            </p:cNvPr>
            <p:cNvGrpSpPr/>
            <p:nvPr/>
          </p:nvGrpSpPr>
          <p:grpSpPr>
            <a:xfrm>
              <a:off x="7862518" y="4349104"/>
              <a:ext cx="348587" cy="475611"/>
              <a:chOff x="8302361" y="3617277"/>
              <a:chExt cx="405107" cy="552730"/>
            </a:xfrm>
          </p:grpSpPr>
          <p:sp>
            <p:nvSpPr>
              <p:cNvPr id="391" name="Oval 390">
                <a:extLst>
                  <a:ext uri="{FF2B5EF4-FFF2-40B4-BE49-F238E27FC236}">
                    <a16:creationId xmlns:a16="http://schemas.microsoft.com/office/drawing/2014/main" id="{1C1D6E4F-3A10-4194-97BF-B4E1BA6ADF83}"/>
                  </a:ext>
                </a:extLst>
              </p:cNvPr>
              <p:cNvSpPr/>
              <p:nvPr/>
            </p:nvSpPr>
            <p:spPr>
              <a:xfrm>
                <a:off x="8430415" y="3689985"/>
                <a:ext cx="148590" cy="140219"/>
              </a:xfrm>
              <a:prstGeom prst="ellipse">
                <a:avLst/>
              </a:prstGeom>
              <a:solidFill>
                <a:srgbClr val="A1E3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392" name="Freeform: Shape 391">
                <a:extLst>
                  <a:ext uri="{FF2B5EF4-FFF2-40B4-BE49-F238E27FC236}">
                    <a16:creationId xmlns:a16="http://schemas.microsoft.com/office/drawing/2014/main" id="{2B6F1E0D-E5D1-4425-8095-2F3C85010CE5}"/>
                  </a:ext>
                </a:extLst>
              </p:cNvPr>
              <p:cNvSpPr/>
              <p:nvPr/>
            </p:nvSpPr>
            <p:spPr>
              <a:xfrm>
                <a:off x="8532495" y="3802380"/>
                <a:ext cx="150495" cy="348615"/>
              </a:xfrm>
              <a:custGeom>
                <a:avLst/>
                <a:gdLst>
                  <a:gd name="connsiteX0" fmla="*/ 45720 w 150495"/>
                  <a:gd name="connsiteY0" fmla="*/ 0 h 348615"/>
                  <a:gd name="connsiteX1" fmla="*/ 150495 w 150495"/>
                  <a:gd name="connsiteY1" fmla="*/ 219075 h 348615"/>
                  <a:gd name="connsiteX2" fmla="*/ 137160 w 150495"/>
                  <a:gd name="connsiteY2" fmla="*/ 348615 h 348615"/>
                  <a:gd name="connsiteX3" fmla="*/ 0 w 150495"/>
                  <a:gd name="connsiteY3" fmla="*/ 30480 h 348615"/>
                  <a:gd name="connsiteX4" fmla="*/ 45720 w 150495"/>
                  <a:gd name="connsiteY4" fmla="*/ 0 h 348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95" h="348615">
                    <a:moveTo>
                      <a:pt x="45720" y="0"/>
                    </a:moveTo>
                    <a:lnTo>
                      <a:pt x="150495" y="219075"/>
                    </a:lnTo>
                    <a:lnTo>
                      <a:pt x="137160" y="348615"/>
                    </a:lnTo>
                    <a:lnTo>
                      <a:pt x="0" y="30480"/>
                    </a:lnTo>
                    <a:lnTo>
                      <a:pt x="45720" y="0"/>
                    </a:lnTo>
                    <a:close/>
                  </a:path>
                </a:pathLst>
              </a:custGeom>
              <a:solidFill>
                <a:srgbClr val="A1E3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393" name="Freeform: Shape 392">
                <a:extLst>
                  <a:ext uri="{FF2B5EF4-FFF2-40B4-BE49-F238E27FC236}">
                    <a16:creationId xmlns:a16="http://schemas.microsoft.com/office/drawing/2014/main" id="{69A92EC9-5D8C-4C55-A65D-841144FD23BD}"/>
                  </a:ext>
                </a:extLst>
              </p:cNvPr>
              <p:cNvSpPr/>
              <p:nvPr/>
            </p:nvSpPr>
            <p:spPr>
              <a:xfrm flipH="1">
                <a:off x="8335235" y="3802380"/>
                <a:ext cx="150495" cy="348615"/>
              </a:xfrm>
              <a:custGeom>
                <a:avLst/>
                <a:gdLst>
                  <a:gd name="connsiteX0" fmla="*/ 45720 w 150495"/>
                  <a:gd name="connsiteY0" fmla="*/ 0 h 348615"/>
                  <a:gd name="connsiteX1" fmla="*/ 150495 w 150495"/>
                  <a:gd name="connsiteY1" fmla="*/ 219075 h 348615"/>
                  <a:gd name="connsiteX2" fmla="*/ 137160 w 150495"/>
                  <a:gd name="connsiteY2" fmla="*/ 348615 h 348615"/>
                  <a:gd name="connsiteX3" fmla="*/ 0 w 150495"/>
                  <a:gd name="connsiteY3" fmla="*/ 30480 h 348615"/>
                  <a:gd name="connsiteX4" fmla="*/ 45720 w 150495"/>
                  <a:gd name="connsiteY4" fmla="*/ 0 h 348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95" h="348615">
                    <a:moveTo>
                      <a:pt x="45720" y="0"/>
                    </a:moveTo>
                    <a:lnTo>
                      <a:pt x="150495" y="219075"/>
                    </a:lnTo>
                    <a:lnTo>
                      <a:pt x="137160" y="348615"/>
                    </a:lnTo>
                    <a:lnTo>
                      <a:pt x="0" y="30480"/>
                    </a:lnTo>
                    <a:lnTo>
                      <a:pt x="45720" y="0"/>
                    </a:lnTo>
                    <a:close/>
                  </a:path>
                </a:pathLst>
              </a:custGeom>
              <a:solidFill>
                <a:srgbClr val="A1E3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grpSp>
            <p:nvGrpSpPr>
              <p:cNvPr id="394" name="Graphic 190">
                <a:extLst>
                  <a:ext uri="{FF2B5EF4-FFF2-40B4-BE49-F238E27FC236}">
                    <a16:creationId xmlns:a16="http://schemas.microsoft.com/office/drawing/2014/main" id="{FAA5DEC3-9142-4E19-91B3-355586D997DD}"/>
                  </a:ext>
                </a:extLst>
              </p:cNvPr>
              <p:cNvGrpSpPr/>
              <p:nvPr/>
            </p:nvGrpSpPr>
            <p:grpSpPr>
              <a:xfrm>
                <a:off x="8302361" y="3617277"/>
                <a:ext cx="405107" cy="552730"/>
                <a:chOff x="10556223" y="3643296"/>
                <a:chExt cx="663202" cy="904875"/>
              </a:xfrm>
              <a:solidFill>
                <a:srgbClr val="000000"/>
              </a:solidFill>
            </p:grpSpPr>
            <p:sp>
              <p:nvSpPr>
                <p:cNvPr id="395" name="Freeform: Shape 394">
                  <a:extLst>
                    <a:ext uri="{FF2B5EF4-FFF2-40B4-BE49-F238E27FC236}">
                      <a16:creationId xmlns:a16="http://schemas.microsoft.com/office/drawing/2014/main" id="{3FCA9304-5273-4E3D-818B-9ED191A32662}"/>
                    </a:ext>
                  </a:extLst>
                </p:cNvPr>
                <p:cNvSpPr/>
                <p:nvPr/>
              </p:nvSpPr>
              <p:spPr>
                <a:xfrm>
                  <a:off x="10823644" y="3819509"/>
                  <a:ext cx="127635" cy="127635"/>
                </a:xfrm>
                <a:custGeom>
                  <a:avLst/>
                  <a:gdLst>
                    <a:gd name="connsiteX0" fmla="*/ 63818 w 127635"/>
                    <a:gd name="connsiteY0" fmla="*/ 127635 h 127635"/>
                    <a:gd name="connsiteX1" fmla="*/ 127635 w 127635"/>
                    <a:gd name="connsiteY1" fmla="*/ 63818 h 127635"/>
                    <a:gd name="connsiteX2" fmla="*/ 63818 w 127635"/>
                    <a:gd name="connsiteY2" fmla="*/ 0 h 127635"/>
                    <a:gd name="connsiteX3" fmla="*/ 0 w 127635"/>
                    <a:gd name="connsiteY3" fmla="*/ 63818 h 127635"/>
                    <a:gd name="connsiteX4" fmla="*/ 63818 w 127635"/>
                    <a:gd name="connsiteY4" fmla="*/ 127635 h 127635"/>
                    <a:gd name="connsiteX5" fmla="*/ 63818 w 127635"/>
                    <a:gd name="connsiteY5" fmla="*/ 39053 h 127635"/>
                    <a:gd name="connsiteX6" fmla="*/ 88582 w 127635"/>
                    <a:gd name="connsiteY6" fmla="*/ 63818 h 127635"/>
                    <a:gd name="connsiteX7" fmla="*/ 63818 w 127635"/>
                    <a:gd name="connsiteY7" fmla="*/ 88582 h 127635"/>
                    <a:gd name="connsiteX8" fmla="*/ 39053 w 127635"/>
                    <a:gd name="connsiteY8" fmla="*/ 63818 h 127635"/>
                    <a:gd name="connsiteX9" fmla="*/ 63818 w 127635"/>
                    <a:gd name="connsiteY9" fmla="*/ 39053 h 12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635" h="127635">
                      <a:moveTo>
                        <a:pt x="63818" y="127635"/>
                      </a:moveTo>
                      <a:cubicBezTo>
                        <a:pt x="99060" y="127635"/>
                        <a:pt x="127635" y="99060"/>
                        <a:pt x="127635" y="63818"/>
                      </a:cubicBezTo>
                      <a:cubicBezTo>
                        <a:pt x="127635" y="28575"/>
                        <a:pt x="99060" y="0"/>
                        <a:pt x="63818" y="0"/>
                      </a:cubicBezTo>
                      <a:cubicBezTo>
                        <a:pt x="28575" y="0"/>
                        <a:pt x="0" y="28575"/>
                        <a:pt x="0" y="63818"/>
                      </a:cubicBezTo>
                      <a:cubicBezTo>
                        <a:pt x="0" y="99060"/>
                        <a:pt x="28575" y="127635"/>
                        <a:pt x="63818" y="127635"/>
                      </a:cubicBezTo>
                      <a:close/>
                      <a:moveTo>
                        <a:pt x="63818" y="39053"/>
                      </a:moveTo>
                      <a:cubicBezTo>
                        <a:pt x="77153" y="39053"/>
                        <a:pt x="88582" y="50482"/>
                        <a:pt x="88582" y="63818"/>
                      </a:cubicBezTo>
                      <a:cubicBezTo>
                        <a:pt x="88582" y="77153"/>
                        <a:pt x="77153" y="88582"/>
                        <a:pt x="63818" y="88582"/>
                      </a:cubicBezTo>
                      <a:cubicBezTo>
                        <a:pt x="50482" y="88582"/>
                        <a:pt x="39053" y="77153"/>
                        <a:pt x="39053" y="63818"/>
                      </a:cubicBezTo>
                      <a:cubicBezTo>
                        <a:pt x="39053" y="50482"/>
                        <a:pt x="50482" y="39053"/>
                        <a:pt x="63818" y="39053"/>
                      </a:cubicBezTo>
                      <a:close/>
                    </a:path>
                  </a:pathLst>
                </a:custGeom>
                <a:solidFill>
                  <a:srgbClr val="000000"/>
                </a:solidFill>
                <a:ln w="9525" cap="flat">
                  <a:noFill/>
                  <a:prstDash val="solid"/>
                  <a:miter/>
                </a:ln>
              </p:spPr>
              <p:txBody>
                <a:bodyPr rtlCol="0" anchor="ctr"/>
                <a:lstStyle/>
                <a:p>
                  <a:pPr algn="r" rtl="1"/>
                  <a:endParaRPr lang="en-US"/>
                </a:p>
              </p:txBody>
            </p:sp>
            <p:sp>
              <p:nvSpPr>
                <p:cNvPr id="396" name="Freeform: Shape 395">
                  <a:extLst>
                    <a:ext uri="{FF2B5EF4-FFF2-40B4-BE49-F238E27FC236}">
                      <a16:creationId xmlns:a16="http://schemas.microsoft.com/office/drawing/2014/main" id="{2D4F5B3E-00A2-4D11-B1A2-9207AAF6911E}"/>
                    </a:ext>
                  </a:extLst>
                </p:cNvPr>
                <p:cNvSpPr/>
                <p:nvPr/>
              </p:nvSpPr>
              <p:spPr>
                <a:xfrm>
                  <a:off x="10556223" y="3643296"/>
                  <a:ext cx="663202" cy="904875"/>
                </a:xfrm>
                <a:custGeom>
                  <a:avLst/>
                  <a:gdLst>
                    <a:gd name="connsiteX0" fmla="*/ 660803 w 663202"/>
                    <a:gd name="connsiteY0" fmla="*/ 558165 h 904875"/>
                    <a:gd name="connsiteX1" fmla="*/ 630323 w 663202"/>
                    <a:gd name="connsiteY1" fmla="*/ 548640 h 904875"/>
                    <a:gd name="connsiteX2" fmla="*/ 587461 w 663202"/>
                    <a:gd name="connsiteY2" fmla="*/ 568643 h 904875"/>
                    <a:gd name="connsiteX3" fmla="*/ 464588 w 663202"/>
                    <a:gd name="connsiteY3" fmla="*/ 306705 h 904875"/>
                    <a:gd name="connsiteX4" fmla="*/ 479828 w 663202"/>
                    <a:gd name="connsiteY4" fmla="*/ 240983 h 904875"/>
                    <a:gd name="connsiteX5" fmla="*/ 396961 w 663202"/>
                    <a:gd name="connsiteY5" fmla="*/ 107633 h 904875"/>
                    <a:gd name="connsiteX6" fmla="*/ 396961 w 663202"/>
                    <a:gd name="connsiteY6" fmla="*/ 66675 h 904875"/>
                    <a:gd name="connsiteX7" fmla="*/ 330286 w 663202"/>
                    <a:gd name="connsiteY7" fmla="*/ 0 h 904875"/>
                    <a:gd name="connsiteX8" fmla="*/ 263611 w 663202"/>
                    <a:gd name="connsiteY8" fmla="*/ 66675 h 904875"/>
                    <a:gd name="connsiteX9" fmla="*/ 263611 w 663202"/>
                    <a:gd name="connsiteY9" fmla="*/ 106680 h 904875"/>
                    <a:gd name="connsiteX10" fmla="*/ 180743 w 663202"/>
                    <a:gd name="connsiteY10" fmla="*/ 240030 h 904875"/>
                    <a:gd name="connsiteX11" fmla="*/ 195983 w 663202"/>
                    <a:gd name="connsiteY11" fmla="*/ 305753 h 904875"/>
                    <a:gd name="connsiteX12" fmla="*/ 75968 w 663202"/>
                    <a:gd name="connsiteY12" fmla="*/ 567690 h 904875"/>
                    <a:gd name="connsiteX13" fmla="*/ 33106 w 663202"/>
                    <a:gd name="connsiteY13" fmla="*/ 547688 h 904875"/>
                    <a:gd name="connsiteX14" fmla="*/ 2626 w 663202"/>
                    <a:gd name="connsiteY14" fmla="*/ 557213 h 904875"/>
                    <a:gd name="connsiteX15" fmla="*/ 12151 w 663202"/>
                    <a:gd name="connsiteY15" fmla="*/ 587693 h 904875"/>
                    <a:gd name="connsiteX16" fmla="*/ 56918 w 663202"/>
                    <a:gd name="connsiteY16" fmla="*/ 608648 h 904875"/>
                    <a:gd name="connsiteX17" fmla="*/ 31201 w 663202"/>
                    <a:gd name="connsiteY17" fmla="*/ 662940 h 904875"/>
                    <a:gd name="connsiteX18" fmla="*/ 29296 w 663202"/>
                    <a:gd name="connsiteY18" fmla="*/ 672465 h 904875"/>
                    <a:gd name="connsiteX19" fmla="*/ 42631 w 663202"/>
                    <a:gd name="connsiteY19" fmla="*/ 885825 h 904875"/>
                    <a:gd name="connsiteX20" fmla="*/ 58823 w 663202"/>
                    <a:gd name="connsiteY20" fmla="*/ 903923 h 904875"/>
                    <a:gd name="connsiteX21" fmla="*/ 62633 w 663202"/>
                    <a:gd name="connsiteY21" fmla="*/ 903923 h 904875"/>
                    <a:gd name="connsiteX22" fmla="*/ 79778 w 663202"/>
                    <a:gd name="connsiteY22" fmla="*/ 892493 h 904875"/>
                    <a:gd name="connsiteX23" fmla="*/ 192173 w 663202"/>
                    <a:gd name="connsiteY23" fmla="*/ 652463 h 904875"/>
                    <a:gd name="connsiteX24" fmla="*/ 308378 w 663202"/>
                    <a:gd name="connsiteY24" fmla="*/ 665798 h 904875"/>
                    <a:gd name="connsiteX25" fmla="*/ 308378 w 663202"/>
                    <a:gd name="connsiteY25" fmla="*/ 699135 h 904875"/>
                    <a:gd name="connsiteX26" fmla="*/ 331238 w 663202"/>
                    <a:gd name="connsiteY26" fmla="*/ 721995 h 904875"/>
                    <a:gd name="connsiteX27" fmla="*/ 354098 w 663202"/>
                    <a:gd name="connsiteY27" fmla="*/ 699135 h 904875"/>
                    <a:gd name="connsiteX28" fmla="*/ 354098 w 663202"/>
                    <a:gd name="connsiteY28" fmla="*/ 665798 h 904875"/>
                    <a:gd name="connsiteX29" fmla="*/ 470303 w 663202"/>
                    <a:gd name="connsiteY29" fmla="*/ 652463 h 904875"/>
                    <a:gd name="connsiteX30" fmla="*/ 582698 w 663202"/>
                    <a:gd name="connsiteY30" fmla="*/ 893445 h 904875"/>
                    <a:gd name="connsiteX31" fmla="*/ 599843 w 663202"/>
                    <a:gd name="connsiteY31" fmla="*/ 904875 h 904875"/>
                    <a:gd name="connsiteX32" fmla="*/ 603653 w 663202"/>
                    <a:gd name="connsiteY32" fmla="*/ 904875 h 904875"/>
                    <a:gd name="connsiteX33" fmla="*/ 619846 w 663202"/>
                    <a:gd name="connsiteY33" fmla="*/ 886778 h 904875"/>
                    <a:gd name="connsiteX34" fmla="*/ 633181 w 663202"/>
                    <a:gd name="connsiteY34" fmla="*/ 673418 h 904875"/>
                    <a:gd name="connsiteX35" fmla="*/ 631276 w 663202"/>
                    <a:gd name="connsiteY35" fmla="*/ 663893 h 904875"/>
                    <a:gd name="connsiteX36" fmla="*/ 605558 w 663202"/>
                    <a:gd name="connsiteY36" fmla="*/ 609600 h 904875"/>
                    <a:gd name="connsiteX37" fmla="*/ 649373 w 663202"/>
                    <a:gd name="connsiteY37" fmla="*/ 588645 h 904875"/>
                    <a:gd name="connsiteX38" fmla="*/ 660803 w 663202"/>
                    <a:gd name="connsiteY38" fmla="*/ 558165 h 904875"/>
                    <a:gd name="connsiteX39" fmla="*/ 303616 w 663202"/>
                    <a:gd name="connsiteY39" fmla="*/ 66675 h 904875"/>
                    <a:gd name="connsiteX40" fmla="*/ 331238 w 663202"/>
                    <a:gd name="connsiteY40" fmla="*/ 39053 h 904875"/>
                    <a:gd name="connsiteX41" fmla="*/ 358861 w 663202"/>
                    <a:gd name="connsiteY41" fmla="*/ 66675 h 904875"/>
                    <a:gd name="connsiteX42" fmla="*/ 358861 w 663202"/>
                    <a:gd name="connsiteY42" fmla="*/ 94298 h 904875"/>
                    <a:gd name="connsiteX43" fmla="*/ 331238 w 663202"/>
                    <a:gd name="connsiteY43" fmla="*/ 91440 h 904875"/>
                    <a:gd name="connsiteX44" fmla="*/ 303616 w 663202"/>
                    <a:gd name="connsiteY44" fmla="*/ 94298 h 904875"/>
                    <a:gd name="connsiteX45" fmla="*/ 303616 w 663202"/>
                    <a:gd name="connsiteY45" fmla="*/ 66675 h 904875"/>
                    <a:gd name="connsiteX46" fmla="*/ 331238 w 663202"/>
                    <a:gd name="connsiteY46" fmla="*/ 129540 h 904875"/>
                    <a:gd name="connsiteX47" fmla="*/ 441728 w 663202"/>
                    <a:gd name="connsiteY47" fmla="*/ 240030 h 904875"/>
                    <a:gd name="connsiteX48" fmla="*/ 331238 w 663202"/>
                    <a:gd name="connsiteY48" fmla="*/ 351473 h 904875"/>
                    <a:gd name="connsiteX49" fmla="*/ 220748 w 663202"/>
                    <a:gd name="connsiteY49" fmla="*/ 240983 h 904875"/>
                    <a:gd name="connsiteX50" fmla="*/ 331238 w 663202"/>
                    <a:gd name="connsiteY50" fmla="*/ 129540 h 904875"/>
                    <a:gd name="connsiteX51" fmla="*/ 76921 w 663202"/>
                    <a:gd name="connsiteY51" fmla="*/ 808673 h 904875"/>
                    <a:gd name="connsiteX52" fmla="*/ 68348 w 663202"/>
                    <a:gd name="connsiteY52" fmla="*/ 676275 h 904875"/>
                    <a:gd name="connsiteX53" fmla="*/ 92161 w 663202"/>
                    <a:gd name="connsiteY53" fmla="*/ 623888 h 904875"/>
                    <a:gd name="connsiteX54" fmla="*/ 153121 w 663202"/>
                    <a:gd name="connsiteY54" fmla="*/ 642938 h 904875"/>
                    <a:gd name="connsiteX55" fmla="*/ 76921 w 663202"/>
                    <a:gd name="connsiteY55" fmla="*/ 808673 h 904875"/>
                    <a:gd name="connsiteX56" fmla="*/ 173123 w 663202"/>
                    <a:gd name="connsiteY56" fmla="*/ 601980 h 904875"/>
                    <a:gd name="connsiteX57" fmla="*/ 111211 w 663202"/>
                    <a:gd name="connsiteY57" fmla="*/ 582930 h 904875"/>
                    <a:gd name="connsiteX58" fmla="*/ 222653 w 663202"/>
                    <a:gd name="connsiteY58" fmla="*/ 343853 h 904875"/>
                    <a:gd name="connsiteX59" fmla="*/ 275993 w 663202"/>
                    <a:gd name="connsiteY59" fmla="*/ 380048 h 904875"/>
                    <a:gd name="connsiteX60" fmla="*/ 173123 w 663202"/>
                    <a:gd name="connsiteY60" fmla="*/ 601980 h 904875"/>
                    <a:gd name="connsiteX61" fmla="*/ 354098 w 663202"/>
                    <a:gd name="connsiteY61" fmla="*/ 621030 h 904875"/>
                    <a:gd name="connsiteX62" fmla="*/ 354098 w 663202"/>
                    <a:gd name="connsiteY62" fmla="*/ 588645 h 904875"/>
                    <a:gd name="connsiteX63" fmla="*/ 331238 w 663202"/>
                    <a:gd name="connsiteY63" fmla="*/ 565785 h 904875"/>
                    <a:gd name="connsiteX64" fmla="*/ 308378 w 663202"/>
                    <a:gd name="connsiteY64" fmla="*/ 588645 h 904875"/>
                    <a:gd name="connsiteX65" fmla="*/ 308378 w 663202"/>
                    <a:gd name="connsiteY65" fmla="*/ 621030 h 904875"/>
                    <a:gd name="connsiteX66" fmla="*/ 212176 w 663202"/>
                    <a:gd name="connsiteY66" fmla="*/ 610553 h 904875"/>
                    <a:gd name="connsiteX67" fmla="*/ 315046 w 663202"/>
                    <a:gd name="connsiteY67" fmla="*/ 389573 h 904875"/>
                    <a:gd name="connsiteX68" fmla="*/ 331238 w 663202"/>
                    <a:gd name="connsiteY68" fmla="*/ 390525 h 904875"/>
                    <a:gd name="connsiteX69" fmla="*/ 347431 w 663202"/>
                    <a:gd name="connsiteY69" fmla="*/ 389573 h 904875"/>
                    <a:gd name="connsiteX70" fmla="*/ 450301 w 663202"/>
                    <a:gd name="connsiteY70" fmla="*/ 610553 h 904875"/>
                    <a:gd name="connsiteX71" fmla="*/ 354098 w 663202"/>
                    <a:gd name="connsiteY71" fmla="*/ 621030 h 904875"/>
                    <a:gd name="connsiteX72" fmla="*/ 385531 w 663202"/>
                    <a:gd name="connsiteY72" fmla="*/ 379095 h 904875"/>
                    <a:gd name="connsiteX73" fmla="*/ 438871 w 663202"/>
                    <a:gd name="connsiteY73" fmla="*/ 342900 h 904875"/>
                    <a:gd name="connsiteX74" fmla="*/ 550313 w 663202"/>
                    <a:gd name="connsiteY74" fmla="*/ 581978 h 904875"/>
                    <a:gd name="connsiteX75" fmla="*/ 488401 w 663202"/>
                    <a:gd name="connsiteY75" fmla="*/ 601028 h 904875"/>
                    <a:gd name="connsiteX76" fmla="*/ 385531 w 663202"/>
                    <a:gd name="connsiteY76" fmla="*/ 379095 h 904875"/>
                    <a:gd name="connsiteX77" fmla="*/ 585556 w 663202"/>
                    <a:gd name="connsiteY77" fmla="*/ 808673 h 904875"/>
                    <a:gd name="connsiteX78" fmla="*/ 508403 w 663202"/>
                    <a:gd name="connsiteY78" fmla="*/ 642938 h 904875"/>
                    <a:gd name="connsiteX79" fmla="*/ 570316 w 663202"/>
                    <a:gd name="connsiteY79" fmla="*/ 623888 h 904875"/>
                    <a:gd name="connsiteX80" fmla="*/ 594128 w 663202"/>
                    <a:gd name="connsiteY80" fmla="*/ 676275 h 904875"/>
                    <a:gd name="connsiteX81" fmla="*/ 585556 w 663202"/>
                    <a:gd name="connsiteY81" fmla="*/ 808673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663202" h="904875">
                      <a:moveTo>
                        <a:pt x="660803" y="558165"/>
                      </a:moveTo>
                      <a:cubicBezTo>
                        <a:pt x="655088" y="546735"/>
                        <a:pt x="640801" y="542925"/>
                        <a:pt x="630323" y="548640"/>
                      </a:cubicBezTo>
                      <a:cubicBezTo>
                        <a:pt x="616036" y="556260"/>
                        <a:pt x="601748" y="562928"/>
                        <a:pt x="587461" y="568643"/>
                      </a:cubicBezTo>
                      <a:lnTo>
                        <a:pt x="464588" y="306705"/>
                      </a:lnTo>
                      <a:cubicBezTo>
                        <a:pt x="474113" y="286703"/>
                        <a:pt x="479828" y="264795"/>
                        <a:pt x="479828" y="240983"/>
                      </a:cubicBezTo>
                      <a:cubicBezTo>
                        <a:pt x="479828" y="182880"/>
                        <a:pt x="445538" y="131445"/>
                        <a:pt x="396961" y="107633"/>
                      </a:cubicBezTo>
                      <a:lnTo>
                        <a:pt x="396961" y="66675"/>
                      </a:lnTo>
                      <a:cubicBezTo>
                        <a:pt x="396961" y="29528"/>
                        <a:pt x="367433" y="0"/>
                        <a:pt x="330286" y="0"/>
                      </a:cubicBezTo>
                      <a:cubicBezTo>
                        <a:pt x="294091" y="0"/>
                        <a:pt x="263611" y="29528"/>
                        <a:pt x="263611" y="66675"/>
                      </a:cubicBezTo>
                      <a:lnTo>
                        <a:pt x="263611" y="106680"/>
                      </a:lnTo>
                      <a:cubicBezTo>
                        <a:pt x="214081" y="131445"/>
                        <a:pt x="180743" y="181928"/>
                        <a:pt x="180743" y="240030"/>
                      </a:cubicBezTo>
                      <a:cubicBezTo>
                        <a:pt x="180743" y="263843"/>
                        <a:pt x="186458" y="285750"/>
                        <a:pt x="195983" y="305753"/>
                      </a:cubicBezTo>
                      <a:lnTo>
                        <a:pt x="75968" y="567690"/>
                      </a:lnTo>
                      <a:cubicBezTo>
                        <a:pt x="61681" y="561975"/>
                        <a:pt x="47393" y="555308"/>
                        <a:pt x="33106" y="547688"/>
                      </a:cubicBezTo>
                      <a:cubicBezTo>
                        <a:pt x="21676" y="541973"/>
                        <a:pt x="8341" y="545783"/>
                        <a:pt x="2626" y="557213"/>
                      </a:cubicBezTo>
                      <a:cubicBezTo>
                        <a:pt x="-3089" y="568643"/>
                        <a:pt x="721" y="581978"/>
                        <a:pt x="12151" y="587693"/>
                      </a:cubicBezTo>
                      <a:cubicBezTo>
                        <a:pt x="26438" y="595313"/>
                        <a:pt x="41678" y="601980"/>
                        <a:pt x="56918" y="608648"/>
                      </a:cubicBezTo>
                      <a:lnTo>
                        <a:pt x="31201" y="662940"/>
                      </a:lnTo>
                      <a:cubicBezTo>
                        <a:pt x="30248" y="665798"/>
                        <a:pt x="29296" y="668655"/>
                        <a:pt x="29296" y="672465"/>
                      </a:cubicBezTo>
                      <a:lnTo>
                        <a:pt x="42631" y="885825"/>
                      </a:lnTo>
                      <a:cubicBezTo>
                        <a:pt x="43583" y="894398"/>
                        <a:pt x="49298" y="902018"/>
                        <a:pt x="58823" y="903923"/>
                      </a:cubicBezTo>
                      <a:cubicBezTo>
                        <a:pt x="59776" y="903923"/>
                        <a:pt x="61681" y="903923"/>
                        <a:pt x="62633" y="903923"/>
                      </a:cubicBezTo>
                      <a:cubicBezTo>
                        <a:pt x="70253" y="903923"/>
                        <a:pt x="76921" y="900113"/>
                        <a:pt x="79778" y="892493"/>
                      </a:cubicBezTo>
                      <a:lnTo>
                        <a:pt x="192173" y="652463"/>
                      </a:lnTo>
                      <a:cubicBezTo>
                        <a:pt x="230273" y="660083"/>
                        <a:pt x="269326" y="664845"/>
                        <a:pt x="308378" y="665798"/>
                      </a:cubicBezTo>
                      <a:lnTo>
                        <a:pt x="308378" y="699135"/>
                      </a:lnTo>
                      <a:cubicBezTo>
                        <a:pt x="308378" y="711518"/>
                        <a:pt x="318856" y="721995"/>
                        <a:pt x="331238" y="721995"/>
                      </a:cubicBezTo>
                      <a:cubicBezTo>
                        <a:pt x="343621" y="721995"/>
                        <a:pt x="354098" y="711518"/>
                        <a:pt x="354098" y="699135"/>
                      </a:cubicBezTo>
                      <a:lnTo>
                        <a:pt x="354098" y="665798"/>
                      </a:lnTo>
                      <a:cubicBezTo>
                        <a:pt x="393151" y="664845"/>
                        <a:pt x="432203" y="660083"/>
                        <a:pt x="470303" y="652463"/>
                      </a:cubicBezTo>
                      <a:lnTo>
                        <a:pt x="582698" y="893445"/>
                      </a:lnTo>
                      <a:cubicBezTo>
                        <a:pt x="585556" y="900113"/>
                        <a:pt x="593176" y="904875"/>
                        <a:pt x="599843" y="904875"/>
                      </a:cubicBezTo>
                      <a:cubicBezTo>
                        <a:pt x="600796" y="904875"/>
                        <a:pt x="601748" y="904875"/>
                        <a:pt x="603653" y="904875"/>
                      </a:cubicBezTo>
                      <a:cubicBezTo>
                        <a:pt x="612226" y="902970"/>
                        <a:pt x="618893" y="896303"/>
                        <a:pt x="619846" y="886778"/>
                      </a:cubicBezTo>
                      <a:lnTo>
                        <a:pt x="633181" y="673418"/>
                      </a:lnTo>
                      <a:cubicBezTo>
                        <a:pt x="633181" y="670560"/>
                        <a:pt x="633181" y="666750"/>
                        <a:pt x="631276" y="663893"/>
                      </a:cubicBezTo>
                      <a:lnTo>
                        <a:pt x="605558" y="609600"/>
                      </a:lnTo>
                      <a:cubicBezTo>
                        <a:pt x="620798" y="602933"/>
                        <a:pt x="635086" y="596265"/>
                        <a:pt x="649373" y="588645"/>
                      </a:cubicBezTo>
                      <a:cubicBezTo>
                        <a:pt x="661756" y="582930"/>
                        <a:pt x="666518" y="569595"/>
                        <a:pt x="660803" y="558165"/>
                      </a:cubicBezTo>
                      <a:close/>
                      <a:moveTo>
                        <a:pt x="303616" y="66675"/>
                      </a:moveTo>
                      <a:cubicBezTo>
                        <a:pt x="303616" y="51435"/>
                        <a:pt x="315998" y="39053"/>
                        <a:pt x="331238" y="39053"/>
                      </a:cubicBezTo>
                      <a:cubicBezTo>
                        <a:pt x="346478" y="39053"/>
                        <a:pt x="358861" y="51435"/>
                        <a:pt x="358861" y="66675"/>
                      </a:cubicBezTo>
                      <a:lnTo>
                        <a:pt x="358861" y="94298"/>
                      </a:lnTo>
                      <a:cubicBezTo>
                        <a:pt x="350288" y="92393"/>
                        <a:pt x="340763" y="91440"/>
                        <a:pt x="331238" y="91440"/>
                      </a:cubicBezTo>
                      <a:cubicBezTo>
                        <a:pt x="321713" y="91440"/>
                        <a:pt x="312188" y="92393"/>
                        <a:pt x="303616" y="94298"/>
                      </a:cubicBezTo>
                      <a:lnTo>
                        <a:pt x="303616" y="66675"/>
                      </a:lnTo>
                      <a:close/>
                      <a:moveTo>
                        <a:pt x="331238" y="129540"/>
                      </a:moveTo>
                      <a:cubicBezTo>
                        <a:pt x="392198" y="129540"/>
                        <a:pt x="441728" y="179070"/>
                        <a:pt x="441728" y="240030"/>
                      </a:cubicBezTo>
                      <a:cubicBezTo>
                        <a:pt x="441728" y="300990"/>
                        <a:pt x="392198" y="351473"/>
                        <a:pt x="331238" y="351473"/>
                      </a:cubicBezTo>
                      <a:cubicBezTo>
                        <a:pt x="270278" y="351473"/>
                        <a:pt x="220748" y="301943"/>
                        <a:pt x="220748" y="240983"/>
                      </a:cubicBezTo>
                      <a:cubicBezTo>
                        <a:pt x="220748" y="180023"/>
                        <a:pt x="270278" y="129540"/>
                        <a:pt x="331238" y="129540"/>
                      </a:cubicBezTo>
                      <a:close/>
                      <a:moveTo>
                        <a:pt x="76921" y="808673"/>
                      </a:moveTo>
                      <a:lnTo>
                        <a:pt x="68348" y="676275"/>
                      </a:lnTo>
                      <a:lnTo>
                        <a:pt x="92161" y="623888"/>
                      </a:lnTo>
                      <a:cubicBezTo>
                        <a:pt x="112163" y="631508"/>
                        <a:pt x="133118" y="637223"/>
                        <a:pt x="153121" y="642938"/>
                      </a:cubicBezTo>
                      <a:lnTo>
                        <a:pt x="76921" y="808673"/>
                      </a:lnTo>
                      <a:close/>
                      <a:moveTo>
                        <a:pt x="173123" y="601980"/>
                      </a:moveTo>
                      <a:cubicBezTo>
                        <a:pt x="152168" y="597218"/>
                        <a:pt x="132166" y="590550"/>
                        <a:pt x="111211" y="582930"/>
                      </a:cubicBezTo>
                      <a:lnTo>
                        <a:pt x="222653" y="343853"/>
                      </a:lnTo>
                      <a:cubicBezTo>
                        <a:pt x="237893" y="359093"/>
                        <a:pt x="255991" y="371475"/>
                        <a:pt x="275993" y="380048"/>
                      </a:cubicBezTo>
                      <a:lnTo>
                        <a:pt x="173123" y="601980"/>
                      </a:lnTo>
                      <a:close/>
                      <a:moveTo>
                        <a:pt x="354098" y="621030"/>
                      </a:moveTo>
                      <a:lnTo>
                        <a:pt x="354098" y="588645"/>
                      </a:lnTo>
                      <a:cubicBezTo>
                        <a:pt x="354098" y="576263"/>
                        <a:pt x="343621" y="565785"/>
                        <a:pt x="331238" y="565785"/>
                      </a:cubicBezTo>
                      <a:cubicBezTo>
                        <a:pt x="318856" y="565785"/>
                        <a:pt x="308378" y="576263"/>
                        <a:pt x="308378" y="588645"/>
                      </a:cubicBezTo>
                      <a:lnTo>
                        <a:pt x="308378" y="621030"/>
                      </a:lnTo>
                      <a:cubicBezTo>
                        <a:pt x="275993" y="620078"/>
                        <a:pt x="243608" y="616268"/>
                        <a:pt x="212176" y="610553"/>
                      </a:cubicBezTo>
                      <a:lnTo>
                        <a:pt x="315046" y="389573"/>
                      </a:lnTo>
                      <a:cubicBezTo>
                        <a:pt x="320761" y="390525"/>
                        <a:pt x="325523" y="390525"/>
                        <a:pt x="331238" y="390525"/>
                      </a:cubicBezTo>
                      <a:cubicBezTo>
                        <a:pt x="336953" y="390525"/>
                        <a:pt x="341716" y="390525"/>
                        <a:pt x="347431" y="389573"/>
                      </a:cubicBezTo>
                      <a:lnTo>
                        <a:pt x="450301" y="610553"/>
                      </a:lnTo>
                      <a:cubicBezTo>
                        <a:pt x="418868" y="616268"/>
                        <a:pt x="386483" y="619125"/>
                        <a:pt x="354098" y="621030"/>
                      </a:cubicBezTo>
                      <a:close/>
                      <a:moveTo>
                        <a:pt x="385531" y="379095"/>
                      </a:moveTo>
                      <a:cubicBezTo>
                        <a:pt x="405533" y="371475"/>
                        <a:pt x="424583" y="359093"/>
                        <a:pt x="438871" y="342900"/>
                      </a:cubicBezTo>
                      <a:lnTo>
                        <a:pt x="550313" y="581978"/>
                      </a:lnTo>
                      <a:cubicBezTo>
                        <a:pt x="530311" y="589598"/>
                        <a:pt x="509356" y="595313"/>
                        <a:pt x="488401" y="601028"/>
                      </a:cubicBezTo>
                      <a:lnTo>
                        <a:pt x="385531" y="379095"/>
                      </a:lnTo>
                      <a:close/>
                      <a:moveTo>
                        <a:pt x="585556" y="808673"/>
                      </a:moveTo>
                      <a:lnTo>
                        <a:pt x="508403" y="642938"/>
                      </a:lnTo>
                      <a:cubicBezTo>
                        <a:pt x="529358" y="637223"/>
                        <a:pt x="549361" y="631508"/>
                        <a:pt x="570316" y="623888"/>
                      </a:cubicBezTo>
                      <a:lnTo>
                        <a:pt x="594128" y="676275"/>
                      </a:lnTo>
                      <a:lnTo>
                        <a:pt x="585556" y="808673"/>
                      </a:lnTo>
                      <a:close/>
                    </a:path>
                  </a:pathLst>
                </a:custGeom>
                <a:solidFill>
                  <a:srgbClr val="000000"/>
                </a:solidFill>
                <a:ln w="9525" cap="flat">
                  <a:noFill/>
                  <a:prstDash val="solid"/>
                  <a:miter/>
                </a:ln>
              </p:spPr>
              <p:txBody>
                <a:bodyPr rtlCol="0" anchor="ctr"/>
                <a:lstStyle/>
                <a:p>
                  <a:pPr algn="r" rtl="1"/>
                  <a:endParaRPr lang="en-US"/>
                </a:p>
              </p:txBody>
            </p:sp>
          </p:grpSp>
        </p:grpSp>
      </p:grpSp>
      <p:cxnSp>
        <p:nvCxnSpPr>
          <p:cNvPr id="397" name="Straight Arrow Connector 396">
            <a:extLst>
              <a:ext uri="{FF2B5EF4-FFF2-40B4-BE49-F238E27FC236}">
                <a16:creationId xmlns:a16="http://schemas.microsoft.com/office/drawing/2014/main" id="{47E82293-F307-4FDE-A6EE-F3D996160658}"/>
              </a:ext>
            </a:extLst>
          </p:cNvPr>
          <p:cNvCxnSpPr>
            <a:cxnSpLocks/>
          </p:cNvCxnSpPr>
          <p:nvPr/>
        </p:nvCxnSpPr>
        <p:spPr>
          <a:xfrm flipH="1" flipV="1">
            <a:off x="8116807" y="3001627"/>
            <a:ext cx="775783" cy="16587"/>
          </a:xfrm>
          <a:prstGeom prst="straightConnector1">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00" name="Connector: Elbow 399">
            <a:extLst>
              <a:ext uri="{FF2B5EF4-FFF2-40B4-BE49-F238E27FC236}">
                <a16:creationId xmlns:a16="http://schemas.microsoft.com/office/drawing/2014/main" id="{E96BF31C-6EBF-484E-AF2F-D3B990A175D4}"/>
              </a:ext>
            </a:extLst>
          </p:cNvPr>
          <p:cNvCxnSpPr>
            <a:cxnSpLocks/>
            <a:stCxn id="256" idx="2"/>
            <a:endCxn id="254" idx="0"/>
          </p:cNvCxnSpPr>
          <p:nvPr/>
        </p:nvCxnSpPr>
        <p:spPr>
          <a:xfrm rot="16200000" flipH="1">
            <a:off x="7322231" y="2872506"/>
            <a:ext cx="253240" cy="2770466"/>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01" name="Connector: Elbow 400">
            <a:extLst>
              <a:ext uri="{FF2B5EF4-FFF2-40B4-BE49-F238E27FC236}">
                <a16:creationId xmlns:a16="http://schemas.microsoft.com/office/drawing/2014/main" id="{F848B995-75C3-467C-9261-05AF4422251D}"/>
              </a:ext>
            </a:extLst>
          </p:cNvPr>
          <p:cNvCxnSpPr>
            <a:cxnSpLocks/>
            <a:stCxn id="256" idx="2"/>
            <a:endCxn id="261" idx="0"/>
          </p:cNvCxnSpPr>
          <p:nvPr/>
        </p:nvCxnSpPr>
        <p:spPr>
          <a:xfrm rot="5400000">
            <a:off x="5466947" y="3787688"/>
            <a:ext cx="253240" cy="940102"/>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04" name="Connector: Elbow 403">
            <a:extLst>
              <a:ext uri="{FF2B5EF4-FFF2-40B4-BE49-F238E27FC236}">
                <a16:creationId xmlns:a16="http://schemas.microsoft.com/office/drawing/2014/main" id="{7D8BB01C-97DD-4436-B613-DB14CADF4335}"/>
              </a:ext>
            </a:extLst>
          </p:cNvPr>
          <p:cNvCxnSpPr>
            <a:cxnSpLocks/>
            <a:stCxn id="262" idx="0"/>
            <a:endCxn id="254" idx="2"/>
          </p:cNvCxnSpPr>
          <p:nvPr/>
        </p:nvCxnSpPr>
        <p:spPr>
          <a:xfrm rot="16200000" flipV="1">
            <a:off x="9690877" y="4413401"/>
            <a:ext cx="296245" cy="2009831"/>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05" name="Connector: Elbow 404">
            <a:extLst>
              <a:ext uri="{FF2B5EF4-FFF2-40B4-BE49-F238E27FC236}">
                <a16:creationId xmlns:a16="http://schemas.microsoft.com/office/drawing/2014/main" id="{E9128B72-ECDB-494A-A024-FD4892C0707C}"/>
              </a:ext>
            </a:extLst>
          </p:cNvPr>
          <p:cNvCxnSpPr>
            <a:cxnSpLocks/>
            <a:stCxn id="263" idx="0"/>
            <a:endCxn id="254" idx="2"/>
          </p:cNvCxnSpPr>
          <p:nvPr/>
        </p:nvCxnSpPr>
        <p:spPr>
          <a:xfrm rot="16200000" flipV="1">
            <a:off x="8966583" y="5137695"/>
            <a:ext cx="296245" cy="561243"/>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06" name="Connector: Elbow 405">
            <a:extLst>
              <a:ext uri="{FF2B5EF4-FFF2-40B4-BE49-F238E27FC236}">
                <a16:creationId xmlns:a16="http://schemas.microsoft.com/office/drawing/2014/main" id="{7B69F644-6E03-4DA6-B619-B1689CC0562A}"/>
              </a:ext>
            </a:extLst>
          </p:cNvPr>
          <p:cNvCxnSpPr>
            <a:cxnSpLocks/>
            <a:stCxn id="264" idx="0"/>
            <a:endCxn id="254" idx="2"/>
          </p:cNvCxnSpPr>
          <p:nvPr/>
        </p:nvCxnSpPr>
        <p:spPr>
          <a:xfrm rot="5400000" flipH="1" flipV="1">
            <a:off x="8242288" y="4974643"/>
            <a:ext cx="296245" cy="887345"/>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07" name="Connector: Elbow 406">
            <a:extLst>
              <a:ext uri="{FF2B5EF4-FFF2-40B4-BE49-F238E27FC236}">
                <a16:creationId xmlns:a16="http://schemas.microsoft.com/office/drawing/2014/main" id="{AFD03698-6851-49B9-81C7-4A4CB860662F}"/>
              </a:ext>
            </a:extLst>
          </p:cNvPr>
          <p:cNvCxnSpPr>
            <a:cxnSpLocks/>
            <a:stCxn id="286" idx="0"/>
            <a:endCxn id="254" idx="2"/>
          </p:cNvCxnSpPr>
          <p:nvPr/>
        </p:nvCxnSpPr>
        <p:spPr>
          <a:xfrm rot="5400000" flipH="1" flipV="1">
            <a:off x="7517994" y="4250349"/>
            <a:ext cx="296245" cy="2335933"/>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08" name="Connector: Elbow 407">
            <a:extLst>
              <a:ext uri="{FF2B5EF4-FFF2-40B4-BE49-F238E27FC236}">
                <a16:creationId xmlns:a16="http://schemas.microsoft.com/office/drawing/2014/main" id="{23DE806A-FF1F-44B4-8081-783F35E7754E}"/>
              </a:ext>
            </a:extLst>
          </p:cNvPr>
          <p:cNvCxnSpPr>
            <a:cxnSpLocks/>
            <a:stCxn id="261" idx="2"/>
            <a:endCxn id="203" idx="0"/>
          </p:cNvCxnSpPr>
          <p:nvPr/>
        </p:nvCxnSpPr>
        <p:spPr>
          <a:xfrm rot="5400000">
            <a:off x="3296199" y="3739121"/>
            <a:ext cx="296245" cy="3358388"/>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09" name="Connector: Elbow 408">
            <a:extLst>
              <a:ext uri="{FF2B5EF4-FFF2-40B4-BE49-F238E27FC236}">
                <a16:creationId xmlns:a16="http://schemas.microsoft.com/office/drawing/2014/main" id="{F74CF21F-ED1A-44AA-8CEB-51315FBFAB12}"/>
              </a:ext>
            </a:extLst>
          </p:cNvPr>
          <p:cNvCxnSpPr>
            <a:cxnSpLocks/>
            <a:stCxn id="261" idx="2"/>
            <a:endCxn id="288" idx="0"/>
          </p:cNvCxnSpPr>
          <p:nvPr/>
        </p:nvCxnSpPr>
        <p:spPr>
          <a:xfrm rot="5400000">
            <a:off x="4020493" y="4463415"/>
            <a:ext cx="296245" cy="1909800"/>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10" name="Connector: Elbow 409">
            <a:extLst>
              <a:ext uri="{FF2B5EF4-FFF2-40B4-BE49-F238E27FC236}">
                <a16:creationId xmlns:a16="http://schemas.microsoft.com/office/drawing/2014/main" id="{B6A0ADC5-DBDA-4A1F-90A1-22F884D1C57E}"/>
              </a:ext>
            </a:extLst>
          </p:cNvPr>
          <p:cNvCxnSpPr>
            <a:cxnSpLocks/>
            <a:stCxn id="261" idx="2"/>
            <a:endCxn id="287" idx="0"/>
          </p:cNvCxnSpPr>
          <p:nvPr/>
        </p:nvCxnSpPr>
        <p:spPr>
          <a:xfrm rot="5400000">
            <a:off x="4744787" y="5187709"/>
            <a:ext cx="296245" cy="461212"/>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grpSp>
        <p:nvGrpSpPr>
          <p:cNvPr id="411" name="Group 410">
            <a:extLst>
              <a:ext uri="{FF2B5EF4-FFF2-40B4-BE49-F238E27FC236}">
                <a16:creationId xmlns:a16="http://schemas.microsoft.com/office/drawing/2014/main" id="{92520627-6B2D-4585-86EE-2FD78255CE17}"/>
              </a:ext>
            </a:extLst>
          </p:cNvPr>
          <p:cNvGrpSpPr/>
          <p:nvPr/>
        </p:nvGrpSpPr>
        <p:grpSpPr>
          <a:xfrm flipH="1">
            <a:off x="644264" y="4625270"/>
            <a:ext cx="534585" cy="364339"/>
            <a:chOff x="10656570" y="1934261"/>
            <a:chExt cx="725023" cy="494131"/>
          </a:xfrm>
        </p:grpSpPr>
        <p:grpSp>
          <p:nvGrpSpPr>
            <p:cNvPr id="412" name="Group 411">
              <a:extLst>
                <a:ext uri="{FF2B5EF4-FFF2-40B4-BE49-F238E27FC236}">
                  <a16:creationId xmlns:a16="http://schemas.microsoft.com/office/drawing/2014/main" id="{66D04034-F75D-4657-9B91-992BA6B1976D}"/>
                </a:ext>
              </a:extLst>
            </p:cNvPr>
            <p:cNvGrpSpPr/>
            <p:nvPr/>
          </p:nvGrpSpPr>
          <p:grpSpPr>
            <a:xfrm>
              <a:off x="10887462" y="1934261"/>
              <a:ext cx="494131" cy="494131"/>
              <a:chOff x="-1489519" y="4779814"/>
              <a:chExt cx="876300" cy="876300"/>
            </a:xfrm>
          </p:grpSpPr>
          <p:sp>
            <p:nvSpPr>
              <p:cNvPr id="415" name="Oval 414">
                <a:extLst>
                  <a:ext uri="{FF2B5EF4-FFF2-40B4-BE49-F238E27FC236}">
                    <a16:creationId xmlns:a16="http://schemas.microsoft.com/office/drawing/2014/main" id="{6DEA7D4C-89B3-460A-9AFB-9B0275AF6133}"/>
                  </a:ext>
                </a:extLst>
              </p:cNvPr>
              <p:cNvSpPr/>
              <p:nvPr/>
            </p:nvSpPr>
            <p:spPr>
              <a:xfrm>
                <a:off x="-1482091" y="4781720"/>
                <a:ext cx="861061" cy="861061"/>
              </a:xfrm>
              <a:prstGeom prst="ellipse">
                <a:avLst/>
              </a:prstGeom>
              <a:solidFill>
                <a:srgbClr val="A1E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grpSp>
            <p:nvGrpSpPr>
              <p:cNvPr id="416" name="Group 415">
                <a:extLst>
                  <a:ext uri="{FF2B5EF4-FFF2-40B4-BE49-F238E27FC236}">
                    <a16:creationId xmlns:a16="http://schemas.microsoft.com/office/drawing/2014/main" id="{FAB2BF48-2458-4411-B158-CFA3571A2688}"/>
                  </a:ext>
                </a:extLst>
              </p:cNvPr>
              <p:cNvGrpSpPr/>
              <p:nvPr/>
            </p:nvGrpSpPr>
            <p:grpSpPr>
              <a:xfrm>
                <a:off x="-1489519" y="4779814"/>
                <a:ext cx="876300" cy="876300"/>
                <a:chOff x="-1489519" y="4779814"/>
                <a:chExt cx="876300" cy="876300"/>
              </a:xfrm>
              <a:solidFill>
                <a:schemeClr val="tx2"/>
              </a:solidFill>
            </p:grpSpPr>
            <p:sp>
              <p:nvSpPr>
                <p:cNvPr id="417" name="Freeform: Shape 416">
                  <a:extLst>
                    <a:ext uri="{FF2B5EF4-FFF2-40B4-BE49-F238E27FC236}">
                      <a16:creationId xmlns:a16="http://schemas.microsoft.com/office/drawing/2014/main" id="{6DAC4DF1-730D-4599-A7D0-11CB23F79A6F}"/>
                    </a:ext>
                  </a:extLst>
                </p:cNvPr>
                <p:cNvSpPr/>
                <p:nvPr/>
              </p:nvSpPr>
              <p:spPr>
                <a:xfrm>
                  <a:off x="-1489519" y="4779814"/>
                  <a:ext cx="876300" cy="876300"/>
                </a:xfrm>
                <a:custGeom>
                  <a:avLst/>
                  <a:gdLst>
                    <a:gd name="connsiteX0" fmla="*/ 438150 w 876300"/>
                    <a:gd name="connsiteY0" fmla="*/ 0 h 876300"/>
                    <a:gd name="connsiteX1" fmla="*/ 0 w 876300"/>
                    <a:gd name="connsiteY1" fmla="*/ 438150 h 876300"/>
                    <a:gd name="connsiteX2" fmla="*/ 438150 w 876300"/>
                    <a:gd name="connsiteY2" fmla="*/ 876300 h 876300"/>
                    <a:gd name="connsiteX3" fmla="*/ 876300 w 876300"/>
                    <a:gd name="connsiteY3" fmla="*/ 438150 h 876300"/>
                    <a:gd name="connsiteX4" fmla="*/ 438150 w 876300"/>
                    <a:gd name="connsiteY4" fmla="*/ 0 h 876300"/>
                    <a:gd name="connsiteX5" fmla="*/ 503777 w 876300"/>
                    <a:gd name="connsiteY5" fmla="*/ 832676 h 876300"/>
                    <a:gd name="connsiteX6" fmla="*/ 275844 w 876300"/>
                    <a:gd name="connsiteY6" fmla="*/ 804101 h 876300"/>
                    <a:gd name="connsiteX7" fmla="*/ 175927 w 876300"/>
                    <a:gd name="connsiteY7" fmla="*/ 740378 h 876300"/>
                    <a:gd name="connsiteX8" fmla="*/ 175927 w 876300"/>
                    <a:gd name="connsiteY8" fmla="*/ 740378 h 876300"/>
                    <a:gd name="connsiteX9" fmla="*/ 177546 w 876300"/>
                    <a:gd name="connsiteY9" fmla="*/ 645128 h 876300"/>
                    <a:gd name="connsiteX10" fmla="*/ 183451 w 876300"/>
                    <a:gd name="connsiteY10" fmla="*/ 626745 h 876300"/>
                    <a:gd name="connsiteX11" fmla="*/ 192976 w 876300"/>
                    <a:gd name="connsiteY11" fmla="*/ 581311 h 876300"/>
                    <a:gd name="connsiteX12" fmla="*/ 147352 w 876300"/>
                    <a:gd name="connsiteY12" fmla="*/ 512064 h 876300"/>
                    <a:gd name="connsiteX13" fmla="*/ 114300 w 876300"/>
                    <a:gd name="connsiteY13" fmla="*/ 468725 h 876300"/>
                    <a:gd name="connsiteX14" fmla="*/ 113729 w 876300"/>
                    <a:gd name="connsiteY14" fmla="*/ 411575 h 876300"/>
                    <a:gd name="connsiteX15" fmla="*/ 113729 w 876300"/>
                    <a:gd name="connsiteY15" fmla="*/ 409385 h 876300"/>
                    <a:gd name="connsiteX16" fmla="*/ 47054 w 876300"/>
                    <a:gd name="connsiteY16" fmla="*/ 356997 h 876300"/>
                    <a:gd name="connsiteX17" fmla="*/ 70676 w 876300"/>
                    <a:gd name="connsiteY17" fmla="*/ 281654 h 876300"/>
                    <a:gd name="connsiteX18" fmla="*/ 177641 w 876300"/>
                    <a:gd name="connsiteY18" fmla="*/ 217075 h 876300"/>
                    <a:gd name="connsiteX19" fmla="*/ 238030 w 876300"/>
                    <a:gd name="connsiteY19" fmla="*/ 133160 h 876300"/>
                    <a:gd name="connsiteX20" fmla="*/ 236601 w 876300"/>
                    <a:gd name="connsiteY20" fmla="*/ 93059 h 876300"/>
                    <a:gd name="connsiteX21" fmla="*/ 357283 w 876300"/>
                    <a:gd name="connsiteY21" fmla="*/ 46292 h 876300"/>
                    <a:gd name="connsiteX22" fmla="*/ 355378 w 876300"/>
                    <a:gd name="connsiteY22" fmla="*/ 49816 h 876300"/>
                    <a:gd name="connsiteX23" fmla="*/ 327470 w 876300"/>
                    <a:gd name="connsiteY23" fmla="*/ 66104 h 876300"/>
                    <a:gd name="connsiteX24" fmla="*/ 285750 w 876300"/>
                    <a:gd name="connsiteY24" fmla="*/ 87535 h 876300"/>
                    <a:gd name="connsiteX25" fmla="*/ 272987 w 876300"/>
                    <a:gd name="connsiteY25" fmla="*/ 120110 h 876300"/>
                    <a:gd name="connsiteX26" fmla="*/ 287750 w 876300"/>
                    <a:gd name="connsiteY26" fmla="*/ 150971 h 876300"/>
                    <a:gd name="connsiteX27" fmla="*/ 317849 w 876300"/>
                    <a:gd name="connsiteY27" fmla="*/ 161925 h 876300"/>
                    <a:gd name="connsiteX28" fmla="*/ 355949 w 876300"/>
                    <a:gd name="connsiteY28" fmla="*/ 151543 h 876300"/>
                    <a:gd name="connsiteX29" fmla="*/ 391859 w 876300"/>
                    <a:gd name="connsiteY29" fmla="*/ 130207 h 876300"/>
                    <a:gd name="connsiteX30" fmla="*/ 442055 w 876300"/>
                    <a:gd name="connsiteY30" fmla="*/ 114776 h 876300"/>
                    <a:gd name="connsiteX31" fmla="*/ 525399 w 876300"/>
                    <a:gd name="connsiteY31" fmla="*/ 48101 h 876300"/>
                    <a:gd name="connsiteX32" fmla="*/ 525399 w 876300"/>
                    <a:gd name="connsiteY32" fmla="*/ 48101 h 876300"/>
                    <a:gd name="connsiteX33" fmla="*/ 561975 w 876300"/>
                    <a:gd name="connsiteY33" fmla="*/ 58198 h 876300"/>
                    <a:gd name="connsiteX34" fmla="*/ 555117 w 876300"/>
                    <a:gd name="connsiteY34" fmla="*/ 84582 h 876300"/>
                    <a:gd name="connsiteX35" fmla="*/ 553974 w 876300"/>
                    <a:gd name="connsiteY35" fmla="*/ 90392 h 876300"/>
                    <a:gd name="connsiteX36" fmla="*/ 518922 w 876300"/>
                    <a:gd name="connsiteY36" fmla="*/ 122111 h 876300"/>
                    <a:gd name="connsiteX37" fmla="*/ 418719 w 876300"/>
                    <a:gd name="connsiteY37" fmla="*/ 167069 h 876300"/>
                    <a:gd name="connsiteX38" fmla="*/ 418719 w 876300"/>
                    <a:gd name="connsiteY38" fmla="*/ 167069 h 876300"/>
                    <a:gd name="connsiteX39" fmla="*/ 418719 w 876300"/>
                    <a:gd name="connsiteY39" fmla="*/ 170021 h 876300"/>
                    <a:gd name="connsiteX40" fmla="*/ 412051 w 876300"/>
                    <a:gd name="connsiteY40" fmla="*/ 195739 h 876300"/>
                    <a:gd name="connsiteX41" fmla="*/ 398336 w 876300"/>
                    <a:gd name="connsiteY41" fmla="*/ 205264 h 876300"/>
                    <a:gd name="connsiteX42" fmla="*/ 390906 w 876300"/>
                    <a:gd name="connsiteY42" fmla="*/ 209836 h 876300"/>
                    <a:gd name="connsiteX43" fmla="*/ 329279 w 876300"/>
                    <a:gd name="connsiteY43" fmla="*/ 280035 h 876300"/>
                    <a:gd name="connsiteX44" fmla="*/ 415862 w 876300"/>
                    <a:gd name="connsiteY44" fmla="*/ 294989 h 876300"/>
                    <a:gd name="connsiteX45" fmla="*/ 551498 w 876300"/>
                    <a:gd name="connsiteY45" fmla="*/ 304514 h 876300"/>
                    <a:gd name="connsiteX46" fmla="*/ 556736 w 876300"/>
                    <a:gd name="connsiteY46" fmla="*/ 320897 h 876300"/>
                    <a:gd name="connsiteX47" fmla="*/ 532162 w 876300"/>
                    <a:gd name="connsiteY47" fmla="*/ 327374 h 876300"/>
                    <a:gd name="connsiteX48" fmla="*/ 530638 w 876300"/>
                    <a:gd name="connsiteY48" fmla="*/ 327374 h 876300"/>
                    <a:gd name="connsiteX49" fmla="*/ 471869 w 876300"/>
                    <a:gd name="connsiteY49" fmla="*/ 322136 h 876300"/>
                    <a:gd name="connsiteX50" fmla="*/ 345091 w 876300"/>
                    <a:gd name="connsiteY50" fmla="*/ 309658 h 876300"/>
                    <a:gd name="connsiteX51" fmla="*/ 248793 w 876300"/>
                    <a:gd name="connsiteY51" fmla="*/ 420910 h 876300"/>
                    <a:gd name="connsiteX52" fmla="*/ 301466 w 876300"/>
                    <a:gd name="connsiteY52" fmla="*/ 527685 h 876300"/>
                    <a:gd name="connsiteX53" fmla="*/ 305657 w 876300"/>
                    <a:gd name="connsiteY53" fmla="*/ 529685 h 876300"/>
                    <a:gd name="connsiteX54" fmla="*/ 369475 w 876300"/>
                    <a:gd name="connsiteY54" fmla="*/ 545783 h 876300"/>
                    <a:gd name="connsiteX55" fmla="*/ 371666 w 876300"/>
                    <a:gd name="connsiteY55" fmla="*/ 545783 h 876300"/>
                    <a:gd name="connsiteX56" fmla="*/ 416624 w 876300"/>
                    <a:gd name="connsiteY56" fmla="*/ 552926 h 876300"/>
                    <a:gd name="connsiteX57" fmla="*/ 423577 w 876300"/>
                    <a:gd name="connsiteY57" fmla="*/ 580644 h 876300"/>
                    <a:gd name="connsiteX58" fmla="*/ 432340 w 876300"/>
                    <a:gd name="connsiteY58" fmla="*/ 614839 h 876300"/>
                    <a:gd name="connsiteX59" fmla="*/ 436531 w 876300"/>
                    <a:gd name="connsiteY59" fmla="*/ 624364 h 876300"/>
                    <a:gd name="connsiteX60" fmla="*/ 440246 w 876300"/>
                    <a:gd name="connsiteY60" fmla="*/ 655892 h 876300"/>
                    <a:gd name="connsiteX61" fmla="*/ 443389 w 876300"/>
                    <a:gd name="connsiteY61" fmla="*/ 689038 h 876300"/>
                    <a:gd name="connsiteX62" fmla="*/ 475202 w 876300"/>
                    <a:gd name="connsiteY62" fmla="*/ 754285 h 876300"/>
                    <a:gd name="connsiteX63" fmla="*/ 509969 w 876300"/>
                    <a:gd name="connsiteY63" fmla="*/ 769334 h 876300"/>
                    <a:gd name="connsiteX64" fmla="*/ 552450 w 876300"/>
                    <a:gd name="connsiteY64" fmla="*/ 752475 h 876300"/>
                    <a:gd name="connsiteX65" fmla="*/ 602742 w 876300"/>
                    <a:gd name="connsiteY65" fmla="*/ 707422 h 876300"/>
                    <a:gd name="connsiteX66" fmla="*/ 624650 w 876300"/>
                    <a:gd name="connsiteY66" fmla="*/ 668560 h 876300"/>
                    <a:gd name="connsiteX67" fmla="*/ 629793 w 876300"/>
                    <a:gd name="connsiteY67" fmla="*/ 631793 h 876300"/>
                    <a:gd name="connsiteX68" fmla="*/ 635984 w 876300"/>
                    <a:gd name="connsiteY68" fmla="*/ 594360 h 876300"/>
                    <a:gd name="connsiteX69" fmla="*/ 659511 w 876300"/>
                    <a:gd name="connsiteY69" fmla="*/ 557308 h 876300"/>
                    <a:gd name="connsiteX70" fmla="*/ 673989 w 876300"/>
                    <a:gd name="connsiteY70" fmla="*/ 538258 h 876300"/>
                    <a:gd name="connsiteX71" fmla="*/ 684371 w 876300"/>
                    <a:gd name="connsiteY71" fmla="*/ 521494 h 876300"/>
                    <a:gd name="connsiteX72" fmla="*/ 689134 w 876300"/>
                    <a:gd name="connsiteY72" fmla="*/ 513493 h 876300"/>
                    <a:gd name="connsiteX73" fmla="*/ 696373 w 876300"/>
                    <a:gd name="connsiteY73" fmla="*/ 481489 h 876300"/>
                    <a:gd name="connsiteX74" fmla="*/ 678180 w 876300"/>
                    <a:gd name="connsiteY74" fmla="*/ 463677 h 876300"/>
                    <a:gd name="connsiteX75" fmla="*/ 665512 w 876300"/>
                    <a:gd name="connsiteY75" fmla="*/ 459200 h 876300"/>
                    <a:gd name="connsiteX76" fmla="*/ 643509 w 876300"/>
                    <a:gd name="connsiteY76" fmla="*/ 448913 h 876300"/>
                    <a:gd name="connsiteX77" fmla="*/ 615791 w 876300"/>
                    <a:gd name="connsiteY77" fmla="*/ 402241 h 876300"/>
                    <a:gd name="connsiteX78" fmla="*/ 621125 w 876300"/>
                    <a:gd name="connsiteY78" fmla="*/ 409289 h 876300"/>
                    <a:gd name="connsiteX79" fmla="*/ 628269 w 876300"/>
                    <a:gd name="connsiteY79" fmla="*/ 418814 h 876300"/>
                    <a:gd name="connsiteX80" fmla="*/ 678656 w 876300"/>
                    <a:gd name="connsiteY80" fmla="*/ 437864 h 876300"/>
                    <a:gd name="connsiteX81" fmla="*/ 709803 w 876300"/>
                    <a:gd name="connsiteY81" fmla="*/ 408242 h 876300"/>
                    <a:gd name="connsiteX82" fmla="*/ 712946 w 876300"/>
                    <a:gd name="connsiteY82" fmla="*/ 403098 h 876300"/>
                    <a:gd name="connsiteX83" fmla="*/ 724662 w 876300"/>
                    <a:gd name="connsiteY83" fmla="*/ 359283 h 876300"/>
                    <a:gd name="connsiteX84" fmla="*/ 723043 w 876300"/>
                    <a:gd name="connsiteY84" fmla="*/ 354330 h 876300"/>
                    <a:gd name="connsiteX85" fmla="*/ 748856 w 876300"/>
                    <a:gd name="connsiteY85" fmla="*/ 379000 h 876300"/>
                    <a:gd name="connsiteX86" fmla="*/ 751142 w 876300"/>
                    <a:gd name="connsiteY86" fmla="*/ 383572 h 876300"/>
                    <a:gd name="connsiteX87" fmla="*/ 791528 w 876300"/>
                    <a:gd name="connsiteY87" fmla="*/ 417481 h 876300"/>
                    <a:gd name="connsiteX88" fmla="*/ 827627 w 876300"/>
                    <a:gd name="connsiteY88" fmla="*/ 366427 h 876300"/>
                    <a:gd name="connsiteX89" fmla="*/ 829818 w 876300"/>
                    <a:gd name="connsiteY89" fmla="*/ 358140 h 876300"/>
                    <a:gd name="connsiteX90" fmla="*/ 518296 w 876300"/>
                    <a:gd name="connsiteY90" fmla="*/ 830409 h 876300"/>
                    <a:gd name="connsiteX91" fmla="*/ 503492 w 876300"/>
                    <a:gd name="connsiteY91" fmla="*/ 833152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76300" h="876300">
                      <a:moveTo>
                        <a:pt x="438150" y="0"/>
                      </a:moveTo>
                      <a:cubicBezTo>
                        <a:pt x="196166" y="0"/>
                        <a:pt x="0" y="196166"/>
                        <a:pt x="0" y="438150"/>
                      </a:cubicBezTo>
                      <a:cubicBezTo>
                        <a:pt x="0" y="680134"/>
                        <a:pt x="196166" y="876300"/>
                        <a:pt x="438150" y="876300"/>
                      </a:cubicBezTo>
                      <a:cubicBezTo>
                        <a:pt x="680134" y="876300"/>
                        <a:pt x="876300" y="680134"/>
                        <a:pt x="876300" y="438150"/>
                      </a:cubicBezTo>
                      <a:cubicBezTo>
                        <a:pt x="876033" y="196275"/>
                        <a:pt x="680025" y="263"/>
                        <a:pt x="438150" y="0"/>
                      </a:cubicBezTo>
                      <a:close/>
                      <a:moveTo>
                        <a:pt x="503777" y="832676"/>
                      </a:moveTo>
                      <a:cubicBezTo>
                        <a:pt x="427577" y="745427"/>
                        <a:pt x="326326" y="772763"/>
                        <a:pt x="275844" y="804101"/>
                      </a:cubicBezTo>
                      <a:cubicBezTo>
                        <a:pt x="239565" y="787927"/>
                        <a:pt x="205891" y="766451"/>
                        <a:pt x="175927" y="740378"/>
                      </a:cubicBezTo>
                      <a:lnTo>
                        <a:pt x="175927" y="740378"/>
                      </a:lnTo>
                      <a:cubicBezTo>
                        <a:pt x="171355" y="726186"/>
                        <a:pt x="174879" y="657987"/>
                        <a:pt x="177546" y="645128"/>
                      </a:cubicBezTo>
                      <a:cubicBezTo>
                        <a:pt x="179090" y="638872"/>
                        <a:pt x="181064" y="632730"/>
                        <a:pt x="183451" y="626745"/>
                      </a:cubicBezTo>
                      <a:cubicBezTo>
                        <a:pt x="189944" y="612490"/>
                        <a:pt x="193197" y="596974"/>
                        <a:pt x="192976" y="581311"/>
                      </a:cubicBezTo>
                      <a:cubicBezTo>
                        <a:pt x="190500" y="548545"/>
                        <a:pt x="167545" y="529209"/>
                        <a:pt x="147352" y="512064"/>
                      </a:cubicBezTo>
                      <a:cubicBezTo>
                        <a:pt x="130207" y="497681"/>
                        <a:pt x="115919" y="485775"/>
                        <a:pt x="114300" y="468725"/>
                      </a:cubicBezTo>
                      <a:cubicBezTo>
                        <a:pt x="112239" y="449740"/>
                        <a:pt x="112047" y="430598"/>
                        <a:pt x="113729" y="411575"/>
                      </a:cubicBezTo>
                      <a:cubicBezTo>
                        <a:pt x="113767" y="410846"/>
                        <a:pt x="113767" y="410114"/>
                        <a:pt x="113729" y="409385"/>
                      </a:cubicBezTo>
                      <a:cubicBezTo>
                        <a:pt x="112586" y="372142"/>
                        <a:pt x="73057" y="359188"/>
                        <a:pt x="47054" y="356997"/>
                      </a:cubicBezTo>
                      <a:cubicBezTo>
                        <a:pt x="52403" y="331159"/>
                        <a:pt x="60315" y="305920"/>
                        <a:pt x="70676" y="281654"/>
                      </a:cubicBezTo>
                      <a:cubicBezTo>
                        <a:pt x="104531" y="257279"/>
                        <a:pt x="140303" y="235682"/>
                        <a:pt x="177641" y="217075"/>
                      </a:cubicBezTo>
                      <a:cubicBezTo>
                        <a:pt x="207836" y="203740"/>
                        <a:pt x="232029" y="163925"/>
                        <a:pt x="238030" y="133160"/>
                      </a:cubicBezTo>
                      <a:cubicBezTo>
                        <a:pt x="240479" y="119848"/>
                        <a:pt x="239991" y="106163"/>
                        <a:pt x="236601" y="93059"/>
                      </a:cubicBezTo>
                      <a:cubicBezTo>
                        <a:pt x="274004" y="70983"/>
                        <a:pt x="314771" y="55184"/>
                        <a:pt x="357283" y="46292"/>
                      </a:cubicBezTo>
                      <a:cubicBezTo>
                        <a:pt x="356544" y="47407"/>
                        <a:pt x="355906" y="48586"/>
                        <a:pt x="355378" y="49816"/>
                      </a:cubicBezTo>
                      <a:cubicBezTo>
                        <a:pt x="352044" y="57817"/>
                        <a:pt x="344329" y="60960"/>
                        <a:pt x="327470" y="66104"/>
                      </a:cubicBezTo>
                      <a:cubicBezTo>
                        <a:pt x="311946" y="69523"/>
                        <a:pt x="297571" y="76907"/>
                        <a:pt x="285750" y="87535"/>
                      </a:cubicBezTo>
                      <a:cubicBezTo>
                        <a:pt x="277224" y="96194"/>
                        <a:pt x="272613" y="107964"/>
                        <a:pt x="272987" y="120110"/>
                      </a:cubicBezTo>
                      <a:cubicBezTo>
                        <a:pt x="273411" y="132000"/>
                        <a:pt x="278759" y="143179"/>
                        <a:pt x="287750" y="150971"/>
                      </a:cubicBezTo>
                      <a:cubicBezTo>
                        <a:pt x="296066" y="158249"/>
                        <a:pt x="306801" y="162156"/>
                        <a:pt x="317849" y="161925"/>
                      </a:cubicBezTo>
                      <a:cubicBezTo>
                        <a:pt x="331162" y="161334"/>
                        <a:pt x="344176" y="157787"/>
                        <a:pt x="355949" y="151543"/>
                      </a:cubicBezTo>
                      <a:cubicBezTo>
                        <a:pt x="368442" y="145351"/>
                        <a:pt x="380447" y="138218"/>
                        <a:pt x="391859" y="130207"/>
                      </a:cubicBezTo>
                      <a:cubicBezTo>
                        <a:pt x="400145" y="125444"/>
                        <a:pt x="424815" y="113633"/>
                        <a:pt x="442055" y="114776"/>
                      </a:cubicBezTo>
                      <a:cubicBezTo>
                        <a:pt x="444151" y="114776"/>
                        <a:pt x="495205" y="115348"/>
                        <a:pt x="525399" y="48101"/>
                      </a:cubicBezTo>
                      <a:lnTo>
                        <a:pt x="525399" y="48101"/>
                      </a:lnTo>
                      <a:cubicBezTo>
                        <a:pt x="538099" y="50895"/>
                        <a:pt x="550291" y="54261"/>
                        <a:pt x="561975" y="58198"/>
                      </a:cubicBezTo>
                      <a:cubicBezTo>
                        <a:pt x="558854" y="66754"/>
                        <a:pt x="556557" y="75589"/>
                        <a:pt x="555117" y="84582"/>
                      </a:cubicBezTo>
                      <a:lnTo>
                        <a:pt x="553974" y="90392"/>
                      </a:lnTo>
                      <a:cubicBezTo>
                        <a:pt x="549614" y="106981"/>
                        <a:pt x="535862" y="119424"/>
                        <a:pt x="518922" y="122111"/>
                      </a:cubicBezTo>
                      <a:cubicBezTo>
                        <a:pt x="501491" y="120777"/>
                        <a:pt x="424910" y="117634"/>
                        <a:pt x="418719" y="167069"/>
                      </a:cubicBezTo>
                      <a:lnTo>
                        <a:pt x="418719" y="167069"/>
                      </a:lnTo>
                      <a:cubicBezTo>
                        <a:pt x="418669" y="168052"/>
                        <a:pt x="418669" y="169037"/>
                        <a:pt x="418719" y="170021"/>
                      </a:cubicBezTo>
                      <a:cubicBezTo>
                        <a:pt x="419206" y="179077"/>
                        <a:pt x="416876" y="188061"/>
                        <a:pt x="412051" y="195739"/>
                      </a:cubicBezTo>
                      <a:cubicBezTo>
                        <a:pt x="407820" y="199377"/>
                        <a:pt x="403223" y="202569"/>
                        <a:pt x="398336" y="205264"/>
                      </a:cubicBezTo>
                      <a:cubicBezTo>
                        <a:pt x="395573" y="206883"/>
                        <a:pt x="393001" y="208407"/>
                        <a:pt x="390906" y="209836"/>
                      </a:cubicBezTo>
                      <a:cubicBezTo>
                        <a:pt x="342329" y="241364"/>
                        <a:pt x="321945" y="258985"/>
                        <a:pt x="329279" y="280035"/>
                      </a:cubicBezTo>
                      <a:cubicBezTo>
                        <a:pt x="336614" y="301085"/>
                        <a:pt x="364998" y="299752"/>
                        <a:pt x="415862" y="294989"/>
                      </a:cubicBezTo>
                      <a:cubicBezTo>
                        <a:pt x="458915" y="290989"/>
                        <a:pt x="531019" y="284226"/>
                        <a:pt x="551498" y="304514"/>
                      </a:cubicBezTo>
                      <a:cubicBezTo>
                        <a:pt x="555750" y="308831"/>
                        <a:pt x="557695" y="314914"/>
                        <a:pt x="556736" y="320897"/>
                      </a:cubicBezTo>
                      <a:cubicBezTo>
                        <a:pt x="555784" y="324041"/>
                        <a:pt x="548545" y="328327"/>
                        <a:pt x="532162" y="327374"/>
                      </a:cubicBezTo>
                      <a:lnTo>
                        <a:pt x="530638" y="327374"/>
                      </a:lnTo>
                      <a:cubicBezTo>
                        <a:pt x="510934" y="327314"/>
                        <a:pt x="491272" y="325562"/>
                        <a:pt x="471869" y="322136"/>
                      </a:cubicBezTo>
                      <a:cubicBezTo>
                        <a:pt x="436150" y="311277"/>
                        <a:pt x="391668" y="297751"/>
                        <a:pt x="345091" y="309658"/>
                      </a:cubicBezTo>
                      <a:cubicBezTo>
                        <a:pt x="293486" y="323917"/>
                        <a:pt x="255507" y="367794"/>
                        <a:pt x="248793" y="420910"/>
                      </a:cubicBezTo>
                      <a:cubicBezTo>
                        <a:pt x="243650" y="473107"/>
                        <a:pt x="261366" y="509016"/>
                        <a:pt x="301466" y="527685"/>
                      </a:cubicBezTo>
                      <a:lnTo>
                        <a:pt x="305657" y="529685"/>
                      </a:lnTo>
                      <a:cubicBezTo>
                        <a:pt x="324707" y="538544"/>
                        <a:pt x="343757" y="547688"/>
                        <a:pt x="369475" y="545783"/>
                      </a:cubicBezTo>
                      <a:lnTo>
                        <a:pt x="371666" y="545783"/>
                      </a:lnTo>
                      <a:cubicBezTo>
                        <a:pt x="379667" y="544259"/>
                        <a:pt x="405003" y="542258"/>
                        <a:pt x="416624" y="552926"/>
                      </a:cubicBezTo>
                      <a:cubicBezTo>
                        <a:pt x="418814" y="554927"/>
                        <a:pt x="425482" y="561023"/>
                        <a:pt x="423577" y="580644"/>
                      </a:cubicBezTo>
                      <a:cubicBezTo>
                        <a:pt x="422992" y="592665"/>
                        <a:pt x="426046" y="604581"/>
                        <a:pt x="432340" y="614839"/>
                      </a:cubicBezTo>
                      <a:cubicBezTo>
                        <a:pt x="433976" y="617903"/>
                        <a:pt x="435377" y="621087"/>
                        <a:pt x="436531" y="624364"/>
                      </a:cubicBezTo>
                      <a:cubicBezTo>
                        <a:pt x="439179" y="634658"/>
                        <a:pt x="440428" y="645264"/>
                        <a:pt x="440246" y="655892"/>
                      </a:cubicBezTo>
                      <a:cubicBezTo>
                        <a:pt x="440305" y="667012"/>
                        <a:pt x="441356" y="678105"/>
                        <a:pt x="443389" y="689038"/>
                      </a:cubicBezTo>
                      <a:cubicBezTo>
                        <a:pt x="447673" y="713338"/>
                        <a:pt x="458696" y="735944"/>
                        <a:pt x="475202" y="754285"/>
                      </a:cubicBezTo>
                      <a:cubicBezTo>
                        <a:pt x="484211" y="763893"/>
                        <a:pt x="496797" y="769341"/>
                        <a:pt x="509969" y="769334"/>
                      </a:cubicBezTo>
                      <a:cubicBezTo>
                        <a:pt x="525549" y="768318"/>
                        <a:pt x="540413" y="762419"/>
                        <a:pt x="552450" y="752475"/>
                      </a:cubicBezTo>
                      <a:cubicBezTo>
                        <a:pt x="571109" y="739716"/>
                        <a:pt x="588015" y="724570"/>
                        <a:pt x="602742" y="707422"/>
                      </a:cubicBezTo>
                      <a:cubicBezTo>
                        <a:pt x="612827" y="696246"/>
                        <a:pt x="620310" y="682974"/>
                        <a:pt x="624650" y="668560"/>
                      </a:cubicBezTo>
                      <a:cubicBezTo>
                        <a:pt x="627388" y="656470"/>
                        <a:pt x="629108" y="644171"/>
                        <a:pt x="629793" y="631793"/>
                      </a:cubicBezTo>
                      <a:cubicBezTo>
                        <a:pt x="630220" y="619099"/>
                        <a:pt x="632301" y="606515"/>
                        <a:pt x="635984" y="594360"/>
                      </a:cubicBezTo>
                      <a:cubicBezTo>
                        <a:pt x="641842" y="580855"/>
                        <a:pt x="649781" y="568354"/>
                        <a:pt x="659511" y="557308"/>
                      </a:cubicBezTo>
                      <a:cubicBezTo>
                        <a:pt x="664369" y="551117"/>
                        <a:pt x="669036" y="544735"/>
                        <a:pt x="673989" y="538258"/>
                      </a:cubicBezTo>
                      <a:cubicBezTo>
                        <a:pt x="677609" y="532924"/>
                        <a:pt x="681038" y="527209"/>
                        <a:pt x="684371" y="521494"/>
                      </a:cubicBezTo>
                      <a:lnTo>
                        <a:pt x="689134" y="513493"/>
                      </a:lnTo>
                      <a:cubicBezTo>
                        <a:pt x="696330" y="504501"/>
                        <a:pt x="698999" y="492703"/>
                        <a:pt x="696373" y="481489"/>
                      </a:cubicBezTo>
                      <a:cubicBezTo>
                        <a:pt x="693371" y="473069"/>
                        <a:pt x="686662" y="466499"/>
                        <a:pt x="678180" y="463677"/>
                      </a:cubicBezTo>
                      <a:cubicBezTo>
                        <a:pt x="673894" y="461963"/>
                        <a:pt x="669608" y="460629"/>
                        <a:pt x="665512" y="459200"/>
                      </a:cubicBezTo>
                      <a:cubicBezTo>
                        <a:pt x="657585" y="457216"/>
                        <a:pt x="650115" y="453723"/>
                        <a:pt x="643509" y="448913"/>
                      </a:cubicBezTo>
                      <a:cubicBezTo>
                        <a:pt x="629019" y="437142"/>
                        <a:pt x="619194" y="420596"/>
                        <a:pt x="615791" y="402241"/>
                      </a:cubicBezTo>
                      <a:cubicBezTo>
                        <a:pt x="617506" y="404336"/>
                        <a:pt x="619315" y="406813"/>
                        <a:pt x="621125" y="409289"/>
                      </a:cubicBezTo>
                      <a:cubicBezTo>
                        <a:pt x="622935" y="411766"/>
                        <a:pt x="625793" y="415671"/>
                        <a:pt x="628269" y="418814"/>
                      </a:cubicBezTo>
                      <a:cubicBezTo>
                        <a:pt x="642747" y="436245"/>
                        <a:pt x="661130" y="443103"/>
                        <a:pt x="678656" y="437864"/>
                      </a:cubicBezTo>
                      <a:cubicBezTo>
                        <a:pt x="692412" y="432285"/>
                        <a:pt x="703541" y="421700"/>
                        <a:pt x="709803" y="408242"/>
                      </a:cubicBezTo>
                      <a:cubicBezTo>
                        <a:pt x="710851" y="406432"/>
                        <a:pt x="711899" y="404717"/>
                        <a:pt x="712946" y="403098"/>
                      </a:cubicBezTo>
                      <a:cubicBezTo>
                        <a:pt x="723805" y="386334"/>
                        <a:pt x="727615" y="371951"/>
                        <a:pt x="724662" y="359283"/>
                      </a:cubicBezTo>
                      <a:cubicBezTo>
                        <a:pt x="724249" y="357593"/>
                        <a:pt x="723708" y="355938"/>
                        <a:pt x="723043" y="354330"/>
                      </a:cubicBezTo>
                      <a:cubicBezTo>
                        <a:pt x="733867" y="359863"/>
                        <a:pt x="742839" y="368437"/>
                        <a:pt x="748856" y="379000"/>
                      </a:cubicBezTo>
                      <a:cubicBezTo>
                        <a:pt x="749522" y="380143"/>
                        <a:pt x="750284" y="381762"/>
                        <a:pt x="751142" y="383572"/>
                      </a:cubicBezTo>
                      <a:cubicBezTo>
                        <a:pt x="757238" y="396431"/>
                        <a:pt x="768668" y="420243"/>
                        <a:pt x="791528" y="417481"/>
                      </a:cubicBezTo>
                      <a:cubicBezTo>
                        <a:pt x="819150" y="414147"/>
                        <a:pt x="826865" y="376523"/>
                        <a:pt x="827627" y="366427"/>
                      </a:cubicBezTo>
                      <a:cubicBezTo>
                        <a:pt x="828046" y="363592"/>
                        <a:pt x="828780" y="360813"/>
                        <a:pt x="829818" y="358140"/>
                      </a:cubicBezTo>
                      <a:cubicBezTo>
                        <a:pt x="874205" y="574577"/>
                        <a:pt x="734733" y="786013"/>
                        <a:pt x="518296" y="830409"/>
                      </a:cubicBezTo>
                      <a:cubicBezTo>
                        <a:pt x="513378" y="831409"/>
                        <a:pt x="508444" y="832333"/>
                        <a:pt x="503492" y="833152"/>
                      </a:cubicBezTo>
                      <a:close/>
                    </a:path>
                  </a:pathLst>
                </a:custGeom>
                <a:grpFill/>
                <a:ln w="9525" cap="flat">
                  <a:noFill/>
                  <a:prstDash val="solid"/>
                  <a:miter/>
                </a:ln>
              </p:spPr>
              <p:txBody>
                <a:bodyPr rtlCol="0" anchor="ctr"/>
                <a:lstStyle/>
                <a:p>
                  <a:pPr algn="r" rtl="1"/>
                  <a:endParaRPr lang="en-US"/>
                </a:p>
              </p:txBody>
            </p:sp>
            <p:sp>
              <p:nvSpPr>
                <p:cNvPr id="418" name="Freeform: Shape 417">
                  <a:extLst>
                    <a:ext uri="{FF2B5EF4-FFF2-40B4-BE49-F238E27FC236}">
                      <a16:creationId xmlns:a16="http://schemas.microsoft.com/office/drawing/2014/main" id="{6CBD5040-CB5B-42A0-B380-5918F9877A24}"/>
                    </a:ext>
                  </a:extLst>
                </p:cNvPr>
                <p:cNvSpPr/>
                <p:nvPr/>
              </p:nvSpPr>
              <p:spPr>
                <a:xfrm>
                  <a:off x="-849174" y="5341214"/>
                  <a:ext cx="133011" cy="148792"/>
                </a:xfrm>
                <a:custGeom>
                  <a:avLst/>
                  <a:gdLst>
                    <a:gd name="connsiteX0" fmla="*/ 119751 w 133011"/>
                    <a:gd name="connsiteY0" fmla="*/ 6671 h 148792"/>
                    <a:gd name="connsiteX1" fmla="*/ 99081 w 133011"/>
                    <a:gd name="connsiteY1" fmla="*/ 3 h 148792"/>
                    <a:gd name="connsiteX2" fmla="*/ 28882 w 133011"/>
                    <a:gd name="connsiteY2" fmla="*/ 45342 h 148792"/>
                    <a:gd name="connsiteX3" fmla="*/ 307 w 133011"/>
                    <a:gd name="connsiteY3" fmla="*/ 118399 h 148792"/>
                    <a:gd name="connsiteX4" fmla="*/ 34026 w 133011"/>
                    <a:gd name="connsiteY4" fmla="*/ 148784 h 148792"/>
                    <a:gd name="connsiteX5" fmla="*/ 104130 w 133011"/>
                    <a:gd name="connsiteY5" fmla="*/ 103445 h 148792"/>
                    <a:gd name="connsiteX6" fmla="*/ 132705 w 133011"/>
                    <a:gd name="connsiteY6" fmla="*/ 30388 h 148792"/>
                    <a:gd name="connsiteX7" fmla="*/ 119751 w 133011"/>
                    <a:gd name="connsiteY7" fmla="*/ 6671 h 14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011" h="148792">
                      <a:moveTo>
                        <a:pt x="119751" y="6671"/>
                      </a:moveTo>
                      <a:cubicBezTo>
                        <a:pt x="113778" y="2243"/>
                        <a:pt x="106516" y="-101"/>
                        <a:pt x="99081" y="3"/>
                      </a:cubicBezTo>
                      <a:cubicBezTo>
                        <a:pt x="73745" y="3"/>
                        <a:pt x="46218" y="23435"/>
                        <a:pt x="28882" y="45342"/>
                      </a:cubicBezTo>
                      <a:cubicBezTo>
                        <a:pt x="8594" y="71060"/>
                        <a:pt x="-1979" y="98397"/>
                        <a:pt x="307" y="118399"/>
                      </a:cubicBezTo>
                      <a:cubicBezTo>
                        <a:pt x="1716" y="135864"/>
                        <a:pt x="16509" y="149194"/>
                        <a:pt x="34026" y="148784"/>
                      </a:cubicBezTo>
                      <a:cubicBezTo>
                        <a:pt x="59362" y="148784"/>
                        <a:pt x="86889" y="125352"/>
                        <a:pt x="104130" y="103445"/>
                      </a:cubicBezTo>
                      <a:cubicBezTo>
                        <a:pt x="124418" y="77727"/>
                        <a:pt x="134991" y="50486"/>
                        <a:pt x="132705" y="30388"/>
                      </a:cubicBezTo>
                      <a:cubicBezTo>
                        <a:pt x="131837" y="21035"/>
                        <a:pt x="127150" y="12455"/>
                        <a:pt x="119751" y="6671"/>
                      </a:cubicBezTo>
                      <a:close/>
                    </a:path>
                  </a:pathLst>
                </a:custGeom>
                <a:grpFill/>
                <a:ln w="9525" cap="flat">
                  <a:noFill/>
                  <a:prstDash val="solid"/>
                  <a:miter/>
                </a:ln>
              </p:spPr>
              <p:txBody>
                <a:bodyPr rtlCol="0" anchor="ctr"/>
                <a:lstStyle/>
                <a:p>
                  <a:pPr algn="r" rtl="1"/>
                  <a:endParaRPr lang="en-US"/>
                </a:p>
              </p:txBody>
            </p:sp>
          </p:grpSp>
        </p:grpSp>
        <p:sp>
          <p:nvSpPr>
            <p:cNvPr id="413" name="Freeform: Shape 412">
              <a:extLst>
                <a:ext uri="{FF2B5EF4-FFF2-40B4-BE49-F238E27FC236}">
                  <a16:creationId xmlns:a16="http://schemas.microsoft.com/office/drawing/2014/main" id="{A0753565-D517-4F29-8098-B573C2CBBE87}"/>
                </a:ext>
              </a:extLst>
            </p:cNvPr>
            <p:cNvSpPr/>
            <p:nvPr/>
          </p:nvSpPr>
          <p:spPr>
            <a:xfrm>
              <a:off x="10828020" y="1942650"/>
              <a:ext cx="199995" cy="225871"/>
            </a:xfrm>
            <a:custGeom>
              <a:avLst/>
              <a:gdLst>
                <a:gd name="connsiteX0" fmla="*/ 0 w 199995"/>
                <a:gd name="connsiteY0" fmla="*/ 54266 h 225871"/>
                <a:gd name="connsiteX1" fmla="*/ 2461 w 199995"/>
                <a:gd name="connsiteY1" fmla="*/ 66445 h 225871"/>
                <a:gd name="connsiteX2" fmla="*/ 0 w 199995"/>
                <a:gd name="connsiteY2" fmla="*/ 76475 h 225871"/>
                <a:gd name="connsiteX3" fmla="*/ 92421 w 199995"/>
                <a:gd name="connsiteY3" fmla="*/ 0 h 225871"/>
                <a:gd name="connsiteX4" fmla="*/ 158757 w 199995"/>
                <a:gd name="connsiteY4" fmla="*/ 66445 h 225871"/>
                <a:gd name="connsiteX5" fmla="*/ 130416 w 199995"/>
                <a:gd name="connsiteY5" fmla="*/ 120667 h 225871"/>
                <a:gd name="connsiteX6" fmla="*/ 199995 w 199995"/>
                <a:gd name="connsiteY6" fmla="*/ 221408 h 225871"/>
                <a:gd name="connsiteX7" fmla="*/ 195528 w 199995"/>
                <a:gd name="connsiteY7" fmla="*/ 225871 h 225871"/>
                <a:gd name="connsiteX8" fmla="*/ 0 w 199995"/>
                <a:gd name="connsiteY8" fmla="*/ 225871 h 225871"/>
                <a:gd name="connsiteX9" fmla="*/ 0 w 199995"/>
                <a:gd name="connsiteY9" fmla="*/ 169395 h 225871"/>
                <a:gd name="connsiteX10" fmla="*/ 8397 w 199995"/>
                <a:gd name="connsiteY10" fmla="*/ 154311 h 225871"/>
                <a:gd name="connsiteX11" fmla="*/ 0 w 199995"/>
                <a:gd name="connsiteY11" fmla="*/ 149200 h 225871"/>
                <a:gd name="connsiteX12" fmla="*/ 0 w 199995"/>
                <a:gd name="connsiteY12" fmla="*/ 137958 h 225871"/>
                <a:gd name="connsiteX13" fmla="*/ 14276 w 199995"/>
                <a:gd name="connsiteY13" fmla="*/ 147495 h 225871"/>
                <a:gd name="connsiteX14" fmla="*/ 54433 w 199995"/>
                <a:gd name="connsiteY14" fmla="*/ 120667 h 225871"/>
                <a:gd name="connsiteX15" fmla="*/ 26088 w 199995"/>
                <a:gd name="connsiteY15" fmla="*/ 66445 h 225871"/>
                <a:gd name="connsiteX16" fmla="*/ 92421 w 199995"/>
                <a:gd name="connsiteY16" fmla="*/ 0 h 22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9995" h="225871">
                  <a:moveTo>
                    <a:pt x="0" y="54266"/>
                  </a:moveTo>
                  <a:lnTo>
                    <a:pt x="2461" y="66445"/>
                  </a:lnTo>
                  <a:lnTo>
                    <a:pt x="0" y="76475"/>
                  </a:lnTo>
                  <a:close/>
                  <a:moveTo>
                    <a:pt x="92421" y="0"/>
                  </a:moveTo>
                  <a:cubicBezTo>
                    <a:pt x="129000" y="0"/>
                    <a:pt x="158757" y="29809"/>
                    <a:pt x="158757" y="66445"/>
                  </a:cubicBezTo>
                  <a:cubicBezTo>
                    <a:pt x="158757" y="88349"/>
                    <a:pt x="148110" y="108339"/>
                    <a:pt x="130416" y="120667"/>
                  </a:cubicBezTo>
                  <a:cubicBezTo>
                    <a:pt x="171845" y="136332"/>
                    <a:pt x="200003" y="176413"/>
                    <a:pt x="199995" y="221408"/>
                  </a:cubicBezTo>
                  <a:cubicBezTo>
                    <a:pt x="199995" y="223872"/>
                    <a:pt x="197995" y="225871"/>
                    <a:pt x="195528" y="225871"/>
                  </a:cubicBezTo>
                  <a:lnTo>
                    <a:pt x="0" y="225871"/>
                  </a:lnTo>
                  <a:lnTo>
                    <a:pt x="0" y="169395"/>
                  </a:lnTo>
                  <a:lnTo>
                    <a:pt x="8397" y="154311"/>
                  </a:lnTo>
                  <a:lnTo>
                    <a:pt x="0" y="149200"/>
                  </a:lnTo>
                  <a:lnTo>
                    <a:pt x="0" y="137958"/>
                  </a:lnTo>
                  <a:lnTo>
                    <a:pt x="14276" y="147495"/>
                  </a:lnTo>
                  <a:cubicBezTo>
                    <a:pt x="25282" y="135807"/>
                    <a:pt x="38929" y="126528"/>
                    <a:pt x="54433" y="120667"/>
                  </a:cubicBezTo>
                  <a:cubicBezTo>
                    <a:pt x="36734" y="108339"/>
                    <a:pt x="26088" y="88349"/>
                    <a:pt x="26088" y="66445"/>
                  </a:cubicBezTo>
                  <a:cubicBezTo>
                    <a:pt x="26088" y="29809"/>
                    <a:pt x="55844" y="0"/>
                    <a:pt x="92421" y="0"/>
                  </a:cubicBezTo>
                  <a:close/>
                </a:path>
              </a:pathLst>
            </a:custGeom>
            <a:solidFill>
              <a:schemeClr val="tx1"/>
            </a:solidFill>
            <a:ln w="22225" cap="flat">
              <a:solidFill>
                <a:srgbClr val="ECECF8"/>
              </a:solidFill>
              <a:prstDash val="solid"/>
              <a:miter/>
            </a:ln>
          </p:spPr>
          <p:txBody>
            <a:bodyPr rtlCol="0" anchor="ctr"/>
            <a:lstStyle/>
            <a:p>
              <a:pPr algn="r" rtl="1"/>
              <a:endParaRPr lang="en-US"/>
            </a:p>
          </p:txBody>
        </p:sp>
        <p:sp>
          <p:nvSpPr>
            <p:cNvPr id="414" name="Freeform: Shape 413">
              <a:extLst>
                <a:ext uri="{FF2B5EF4-FFF2-40B4-BE49-F238E27FC236}">
                  <a16:creationId xmlns:a16="http://schemas.microsoft.com/office/drawing/2014/main" id="{832D94B6-194A-4212-8091-7A863938E1D0}"/>
                </a:ext>
              </a:extLst>
            </p:cNvPr>
            <p:cNvSpPr/>
            <p:nvPr/>
          </p:nvSpPr>
          <p:spPr>
            <a:xfrm>
              <a:off x="10656570" y="1942650"/>
              <a:ext cx="371445" cy="225871"/>
            </a:xfrm>
            <a:custGeom>
              <a:avLst/>
              <a:gdLst>
                <a:gd name="connsiteX0" fmla="*/ 767791 w 944765"/>
                <a:gd name="connsiteY0" fmla="*/ 306915 h 574500"/>
                <a:gd name="connsiteX1" fmla="*/ 839876 w 944765"/>
                <a:gd name="connsiteY1" fmla="*/ 169002 h 574500"/>
                <a:gd name="connsiteX2" fmla="*/ 671151 w 944765"/>
                <a:gd name="connsiteY2" fmla="*/ 0 h 574500"/>
                <a:gd name="connsiteX3" fmla="*/ 502434 w 944765"/>
                <a:gd name="connsiteY3" fmla="*/ 169002 h 574500"/>
                <a:gd name="connsiteX4" fmla="*/ 574529 w 944765"/>
                <a:gd name="connsiteY4" fmla="*/ 306915 h 574500"/>
                <a:gd name="connsiteX5" fmla="*/ 472392 w 944765"/>
                <a:gd name="connsiteY5" fmla="*/ 375152 h 574500"/>
                <a:gd name="connsiteX6" fmla="*/ 370246 w 944765"/>
                <a:gd name="connsiteY6" fmla="*/ 306915 h 574500"/>
                <a:gd name="connsiteX7" fmla="*/ 442341 w 944765"/>
                <a:gd name="connsiteY7" fmla="*/ 169002 h 574500"/>
                <a:gd name="connsiteX8" fmla="*/ 273615 w 944765"/>
                <a:gd name="connsiteY8" fmla="*/ 0 h 574500"/>
                <a:gd name="connsiteX9" fmla="*/ 104899 w 944765"/>
                <a:gd name="connsiteY9" fmla="*/ 169002 h 574500"/>
                <a:gd name="connsiteX10" fmla="*/ 176984 w 944765"/>
                <a:gd name="connsiteY10" fmla="*/ 306915 h 574500"/>
                <a:gd name="connsiteX11" fmla="*/ 0 w 944765"/>
                <a:gd name="connsiteY11" fmla="*/ 563137 h 574500"/>
                <a:gd name="connsiteX12" fmla="*/ 11363 w 944765"/>
                <a:gd name="connsiteY12" fmla="*/ 574491 h 574500"/>
                <a:gd name="connsiteX13" fmla="*/ 352301 w 944765"/>
                <a:gd name="connsiteY13" fmla="*/ 574491 h 574500"/>
                <a:gd name="connsiteX14" fmla="*/ 363665 w 944765"/>
                <a:gd name="connsiteY14" fmla="*/ 563137 h 574500"/>
                <a:gd name="connsiteX15" fmla="*/ 352301 w 944765"/>
                <a:gd name="connsiteY15" fmla="*/ 551774 h 574500"/>
                <a:gd name="connsiteX16" fmla="*/ 22984 w 944765"/>
                <a:gd name="connsiteY16" fmla="*/ 551774 h 574500"/>
                <a:gd name="connsiteX17" fmla="*/ 207407 w 944765"/>
                <a:gd name="connsiteY17" fmla="*/ 320897 h 574500"/>
                <a:gd name="connsiteX18" fmla="*/ 215713 w 944765"/>
                <a:gd name="connsiteY18" fmla="*/ 311029 h 574500"/>
                <a:gd name="connsiteX19" fmla="*/ 209436 w 944765"/>
                <a:gd name="connsiteY19" fmla="*/ 299752 h 574500"/>
                <a:gd name="connsiteX20" fmla="*/ 127625 w 944765"/>
                <a:gd name="connsiteY20" fmla="*/ 169002 h 574500"/>
                <a:gd name="connsiteX21" fmla="*/ 273615 w 944765"/>
                <a:gd name="connsiteY21" fmla="*/ 22727 h 574500"/>
                <a:gd name="connsiteX22" fmla="*/ 419614 w 944765"/>
                <a:gd name="connsiteY22" fmla="*/ 169002 h 574500"/>
                <a:gd name="connsiteX23" fmla="*/ 337795 w 944765"/>
                <a:gd name="connsiteY23" fmla="*/ 299752 h 574500"/>
                <a:gd name="connsiteX24" fmla="*/ 331518 w 944765"/>
                <a:gd name="connsiteY24" fmla="*/ 311029 h 574500"/>
                <a:gd name="connsiteX25" fmla="*/ 339823 w 944765"/>
                <a:gd name="connsiteY25" fmla="*/ 320897 h 574500"/>
                <a:gd name="connsiteX26" fmla="*/ 457438 w 944765"/>
                <a:gd name="connsiteY26" fmla="*/ 392487 h 574500"/>
                <a:gd name="connsiteX27" fmla="*/ 397526 w 944765"/>
                <a:gd name="connsiteY27" fmla="*/ 563147 h 574500"/>
                <a:gd name="connsiteX28" fmla="*/ 408880 w 944765"/>
                <a:gd name="connsiteY28" fmla="*/ 574500 h 574500"/>
                <a:gd name="connsiteX29" fmla="*/ 933402 w 944765"/>
                <a:gd name="connsiteY29" fmla="*/ 574500 h 574500"/>
                <a:gd name="connsiteX30" fmla="*/ 944766 w 944765"/>
                <a:gd name="connsiteY30" fmla="*/ 563147 h 574500"/>
                <a:gd name="connsiteX31" fmla="*/ 767791 w 944765"/>
                <a:gd name="connsiteY31" fmla="*/ 306915 h 57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44765" h="574500">
                  <a:moveTo>
                    <a:pt x="767791" y="306915"/>
                  </a:moveTo>
                  <a:cubicBezTo>
                    <a:pt x="812797" y="275558"/>
                    <a:pt x="839876" y="224714"/>
                    <a:pt x="839876" y="169002"/>
                  </a:cubicBezTo>
                  <a:cubicBezTo>
                    <a:pt x="839876" y="75819"/>
                    <a:pt x="764191" y="0"/>
                    <a:pt x="671151" y="0"/>
                  </a:cubicBezTo>
                  <a:cubicBezTo>
                    <a:pt x="578120" y="0"/>
                    <a:pt x="502434" y="75819"/>
                    <a:pt x="502434" y="169002"/>
                  </a:cubicBezTo>
                  <a:cubicBezTo>
                    <a:pt x="502434" y="224714"/>
                    <a:pt x="529514" y="275558"/>
                    <a:pt x="574529" y="306915"/>
                  </a:cubicBezTo>
                  <a:cubicBezTo>
                    <a:pt x="535095" y="321821"/>
                    <a:pt x="500386" y="345424"/>
                    <a:pt x="472392" y="375152"/>
                  </a:cubicBezTo>
                  <a:cubicBezTo>
                    <a:pt x="444398" y="345434"/>
                    <a:pt x="409689" y="321821"/>
                    <a:pt x="370246" y="306915"/>
                  </a:cubicBezTo>
                  <a:cubicBezTo>
                    <a:pt x="415271" y="275568"/>
                    <a:pt x="442341" y="224723"/>
                    <a:pt x="442341" y="169002"/>
                  </a:cubicBezTo>
                  <a:cubicBezTo>
                    <a:pt x="442341" y="75819"/>
                    <a:pt x="366655" y="0"/>
                    <a:pt x="273615" y="0"/>
                  </a:cubicBezTo>
                  <a:cubicBezTo>
                    <a:pt x="180584" y="0"/>
                    <a:pt x="104899" y="75819"/>
                    <a:pt x="104899" y="169002"/>
                  </a:cubicBezTo>
                  <a:cubicBezTo>
                    <a:pt x="104899" y="224714"/>
                    <a:pt x="131978" y="275558"/>
                    <a:pt x="176984" y="306915"/>
                  </a:cubicBezTo>
                  <a:cubicBezTo>
                    <a:pt x="71609" y="346758"/>
                    <a:pt x="0" y="448704"/>
                    <a:pt x="0" y="563137"/>
                  </a:cubicBezTo>
                  <a:cubicBezTo>
                    <a:pt x="0" y="569405"/>
                    <a:pt x="5086" y="574491"/>
                    <a:pt x="11363" y="574491"/>
                  </a:cubicBezTo>
                  <a:lnTo>
                    <a:pt x="352301" y="574491"/>
                  </a:lnTo>
                  <a:cubicBezTo>
                    <a:pt x="358578" y="574491"/>
                    <a:pt x="363665" y="569405"/>
                    <a:pt x="363665" y="563137"/>
                  </a:cubicBezTo>
                  <a:cubicBezTo>
                    <a:pt x="363665" y="556860"/>
                    <a:pt x="358578" y="551774"/>
                    <a:pt x="352301" y="551774"/>
                  </a:cubicBezTo>
                  <a:lnTo>
                    <a:pt x="22984" y="551774"/>
                  </a:lnTo>
                  <a:cubicBezTo>
                    <a:pt x="27889" y="443646"/>
                    <a:pt x="102337" y="349663"/>
                    <a:pt x="207407" y="320897"/>
                  </a:cubicBezTo>
                  <a:cubicBezTo>
                    <a:pt x="211960" y="319650"/>
                    <a:pt x="215265" y="315725"/>
                    <a:pt x="215713" y="311029"/>
                  </a:cubicBezTo>
                  <a:cubicBezTo>
                    <a:pt x="216170" y="306334"/>
                    <a:pt x="213665" y="301847"/>
                    <a:pt x="209436" y="299752"/>
                  </a:cubicBezTo>
                  <a:cubicBezTo>
                    <a:pt x="158972" y="274815"/>
                    <a:pt x="127625" y="224714"/>
                    <a:pt x="127625" y="169002"/>
                  </a:cubicBezTo>
                  <a:cubicBezTo>
                    <a:pt x="127625" y="88344"/>
                    <a:pt x="193119" y="22727"/>
                    <a:pt x="273615" y="22727"/>
                  </a:cubicBezTo>
                  <a:cubicBezTo>
                    <a:pt x="354120" y="22727"/>
                    <a:pt x="419614" y="88354"/>
                    <a:pt x="419614" y="169002"/>
                  </a:cubicBezTo>
                  <a:cubicBezTo>
                    <a:pt x="419614" y="224714"/>
                    <a:pt x="388258" y="274806"/>
                    <a:pt x="337795" y="299752"/>
                  </a:cubicBezTo>
                  <a:cubicBezTo>
                    <a:pt x="333566" y="301847"/>
                    <a:pt x="331060" y="306324"/>
                    <a:pt x="331518" y="311029"/>
                  </a:cubicBezTo>
                  <a:cubicBezTo>
                    <a:pt x="331965" y="315725"/>
                    <a:pt x="335280" y="319650"/>
                    <a:pt x="339823" y="320897"/>
                  </a:cubicBezTo>
                  <a:cubicBezTo>
                    <a:pt x="386077" y="333566"/>
                    <a:pt x="426377" y="358902"/>
                    <a:pt x="457438" y="392487"/>
                  </a:cubicBezTo>
                  <a:cubicBezTo>
                    <a:pt x="419691" y="439855"/>
                    <a:pt x="397526" y="499548"/>
                    <a:pt x="397526" y="563147"/>
                  </a:cubicBezTo>
                  <a:cubicBezTo>
                    <a:pt x="397526" y="569414"/>
                    <a:pt x="402612" y="574500"/>
                    <a:pt x="408880" y="574500"/>
                  </a:cubicBezTo>
                  <a:lnTo>
                    <a:pt x="933402" y="574500"/>
                  </a:lnTo>
                  <a:cubicBezTo>
                    <a:pt x="939679" y="574500"/>
                    <a:pt x="944766" y="569414"/>
                    <a:pt x="944766" y="563147"/>
                  </a:cubicBezTo>
                  <a:cubicBezTo>
                    <a:pt x="944785" y="448704"/>
                    <a:pt x="873166" y="346758"/>
                    <a:pt x="767791" y="306915"/>
                  </a:cubicBezTo>
                  <a:close/>
                </a:path>
              </a:pathLst>
            </a:custGeom>
            <a:solidFill>
              <a:schemeClr val="tx1"/>
            </a:solidFill>
            <a:ln w="22225" cap="flat">
              <a:noFill/>
              <a:prstDash val="solid"/>
              <a:miter/>
            </a:ln>
          </p:spPr>
          <p:txBody>
            <a:bodyPr rtlCol="0" anchor="ctr"/>
            <a:lstStyle/>
            <a:p>
              <a:pPr algn="r" rtl="1"/>
              <a:endParaRPr lang="en-US"/>
            </a:p>
          </p:txBody>
        </p:sp>
      </p:grpSp>
      <p:grpSp>
        <p:nvGrpSpPr>
          <p:cNvPr id="419" name="Group 418">
            <a:extLst>
              <a:ext uri="{FF2B5EF4-FFF2-40B4-BE49-F238E27FC236}">
                <a16:creationId xmlns:a16="http://schemas.microsoft.com/office/drawing/2014/main" id="{28E74E77-6656-49D8-9839-B2E5FD5EC862}"/>
              </a:ext>
            </a:extLst>
          </p:cNvPr>
          <p:cNvGrpSpPr/>
          <p:nvPr/>
        </p:nvGrpSpPr>
        <p:grpSpPr>
          <a:xfrm flipH="1">
            <a:off x="9021476" y="2769583"/>
            <a:ext cx="513455" cy="548244"/>
            <a:chOff x="2619585" y="2554219"/>
            <a:chExt cx="521396" cy="556723"/>
          </a:xfrm>
        </p:grpSpPr>
        <p:grpSp>
          <p:nvGrpSpPr>
            <p:cNvPr id="420" name="Group 419">
              <a:extLst>
                <a:ext uri="{FF2B5EF4-FFF2-40B4-BE49-F238E27FC236}">
                  <a16:creationId xmlns:a16="http://schemas.microsoft.com/office/drawing/2014/main" id="{62B981E2-4D32-4A95-BEE1-15410E113F3F}"/>
                </a:ext>
              </a:extLst>
            </p:cNvPr>
            <p:cNvGrpSpPr/>
            <p:nvPr/>
          </p:nvGrpSpPr>
          <p:grpSpPr>
            <a:xfrm>
              <a:off x="2619585" y="2554219"/>
              <a:ext cx="421507" cy="325162"/>
              <a:chOff x="-222828" y="2962594"/>
              <a:chExt cx="666750" cy="514350"/>
            </a:xfrm>
          </p:grpSpPr>
          <p:sp>
            <p:nvSpPr>
              <p:cNvPr id="425" name="Freeform: Shape 424">
                <a:extLst>
                  <a:ext uri="{FF2B5EF4-FFF2-40B4-BE49-F238E27FC236}">
                    <a16:creationId xmlns:a16="http://schemas.microsoft.com/office/drawing/2014/main" id="{2A251CB0-A285-4FB6-8397-F6937F66DCA6}"/>
                  </a:ext>
                </a:extLst>
              </p:cNvPr>
              <p:cNvSpPr/>
              <p:nvPr/>
            </p:nvSpPr>
            <p:spPr>
              <a:xfrm>
                <a:off x="-194684" y="3023337"/>
                <a:ext cx="611879" cy="424712"/>
              </a:xfrm>
              <a:custGeom>
                <a:avLst/>
                <a:gdLst>
                  <a:gd name="connsiteX0" fmla="*/ 232784 w 611879"/>
                  <a:gd name="connsiteY0" fmla="*/ 0 h 424712"/>
                  <a:gd name="connsiteX1" fmla="*/ 232784 w 611879"/>
                  <a:gd name="connsiteY1" fmla="*/ 36093 h 424712"/>
                  <a:gd name="connsiteX2" fmla="*/ 375659 w 611879"/>
                  <a:gd name="connsiteY2" fmla="*/ 36093 h 424712"/>
                  <a:gd name="connsiteX3" fmla="*/ 375659 w 611879"/>
                  <a:gd name="connsiteY3" fmla="*/ 1673 h 424712"/>
                  <a:gd name="connsiteX4" fmla="*/ 385184 w 611879"/>
                  <a:gd name="connsiteY4" fmla="*/ 1803 h 424712"/>
                  <a:gd name="connsiteX5" fmla="*/ 611879 w 611879"/>
                  <a:gd name="connsiteY5" fmla="*/ 1802 h 424712"/>
                  <a:gd name="connsiteX6" fmla="*/ 611879 w 611879"/>
                  <a:gd name="connsiteY6" fmla="*/ 424712 h 424712"/>
                  <a:gd name="connsiteX7" fmla="*/ 0 w 611879"/>
                  <a:gd name="connsiteY7" fmla="*/ 424712 h 424712"/>
                  <a:gd name="connsiteX8" fmla="*/ 0 w 611879"/>
                  <a:gd name="connsiteY8" fmla="*/ 1802 h 4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879" h="424712">
                    <a:moveTo>
                      <a:pt x="232784" y="0"/>
                    </a:moveTo>
                    <a:lnTo>
                      <a:pt x="232784" y="36093"/>
                    </a:lnTo>
                    <a:lnTo>
                      <a:pt x="375659" y="36093"/>
                    </a:lnTo>
                    <a:lnTo>
                      <a:pt x="375659" y="1673"/>
                    </a:lnTo>
                    <a:lnTo>
                      <a:pt x="385184" y="1803"/>
                    </a:lnTo>
                    <a:lnTo>
                      <a:pt x="611879" y="1802"/>
                    </a:lnTo>
                    <a:lnTo>
                      <a:pt x="611879" y="424712"/>
                    </a:lnTo>
                    <a:lnTo>
                      <a:pt x="0" y="424712"/>
                    </a:lnTo>
                    <a:lnTo>
                      <a:pt x="0" y="1802"/>
                    </a:lnTo>
                    <a:close/>
                  </a:path>
                </a:pathLst>
              </a:custGeom>
              <a:solidFill>
                <a:srgbClr val="A1E3FA"/>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1"/>
                <a:endParaRPr lang="en-US"/>
              </a:p>
            </p:txBody>
          </p:sp>
          <p:grpSp>
            <p:nvGrpSpPr>
              <p:cNvPr id="426" name="Group 425">
                <a:extLst>
                  <a:ext uri="{FF2B5EF4-FFF2-40B4-BE49-F238E27FC236}">
                    <a16:creationId xmlns:a16="http://schemas.microsoft.com/office/drawing/2014/main" id="{C2A6B5AF-CEA9-4C66-833B-AEFF768EE656}"/>
                  </a:ext>
                </a:extLst>
              </p:cNvPr>
              <p:cNvGrpSpPr/>
              <p:nvPr/>
            </p:nvGrpSpPr>
            <p:grpSpPr>
              <a:xfrm>
                <a:off x="-222828" y="2962594"/>
                <a:ext cx="666750" cy="514350"/>
                <a:chOff x="-222828" y="2962594"/>
                <a:chExt cx="666750" cy="514350"/>
              </a:xfrm>
              <a:solidFill>
                <a:schemeClr val="tx1"/>
              </a:solidFill>
            </p:grpSpPr>
            <p:sp>
              <p:nvSpPr>
                <p:cNvPr id="427" name="Freeform: Shape 426">
                  <a:extLst>
                    <a:ext uri="{FF2B5EF4-FFF2-40B4-BE49-F238E27FC236}">
                      <a16:creationId xmlns:a16="http://schemas.microsoft.com/office/drawing/2014/main" id="{EFF28923-B71B-4937-B48F-B0490FE3C27B}"/>
                    </a:ext>
                  </a:extLst>
                </p:cNvPr>
                <p:cNvSpPr/>
                <p:nvPr/>
              </p:nvSpPr>
              <p:spPr>
                <a:xfrm>
                  <a:off x="-99003" y="3086419"/>
                  <a:ext cx="152400" cy="152400"/>
                </a:xfrm>
                <a:custGeom>
                  <a:avLst/>
                  <a:gdLst>
                    <a:gd name="connsiteX0" fmla="*/ 76200 w 152400"/>
                    <a:gd name="connsiteY0" fmla="*/ 152400 h 152400"/>
                    <a:gd name="connsiteX1" fmla="*/ 152400 w 152400"/>
                    <a:gd name="connsiteY1" fmla="*/ 76200 h 152400"/>
                    <a:gd name="connsiteX2" fmla="*/ 76200 w 152400"/>
                    <a:gd name="connsiteY2" fmla="*/ 0 h 152400"/>
                    <a:gd name="connsiteX3" fmla="*/ 0 w 152400"/>
                    <a:gd name="connsiteY3" fmla="*/ 76200 h 152400"/>
                    <a:gd name="connsiteX4" fmla="*/ 76200 w 152400"/>
                    <a:gd name="connsiteY4" fmla="*/ 152400 h 152400"/>
                    <a:gd name="connsiteX5" fmla="*/ 76200 w 152400"/>
                    <a:gd name="connsiteY5" fmla="*/ 38100 h 152400"/>
                    <a:gd name="connsiteX6" fmla="*/ 114300 w 152400"/>
                    <a:gd name="connsiteY6" fmla="*/ 76200 h 152400"/>
                    <a:gd name="connsiteX7" fmla="*/ 76200 w 152400"/>
                    <a:gd name="connsiteY7" fmla="*/ 114300 h 152400"/>
                    <a:gd name="connsiteX8" fmla="*/ 38100 w 152400"/>
                    <a:gd name="connsiteY8" fmla="*/ 76200 h 152400"/>
                    <a:gd name="connsiteX9" fmla="*/ 76200 w 152400"/>
                    <a:gd name="connsiteY9" fmla="*/ 381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152400"/>
                      </a:moveTo>
                      <a:cubicBezTo>
                        <a:pt x="118216" y="152400"/>
                        <a:pt x="152400" y="118216"/>
                        <a:pt x="152400" y="76200"/>
                      </a:cubicBezTo>
                      <a:cubicBezTo>
                        <a:pt x="152400" y="34184"/>
                        <a:pt x="118216" y="0"/>
                        <a:pt x="76200" y="0"/>
                      </a:cubicBezTo>
                      <a:cubicBezTo>
                        <a:pt x="34184" y="0"/>
                        <a:pt x="0" y="34184"/>
                        <a:pt x="0" y="76200"/>
                      </a:cubicBezTo>
                      <a:cubicBezTo>
                        <a:pt x="0" y="118216"/>
                        <a:pt x="34184" y="152400"/>
                        <a:pt x="76200" y="152400"/>
                      </a:cubicBezTo>
                      <a:close/>
                      <a:moveTo>
                        <a:pt x="76200" y="38100"/>
                      </a:moveTo>
                      <a:cubicBezTo>
                        <a:pt x="97213" y="38100"/>
                        <a:pt x="114300" y="55192"/>
                        <a:pt x="114300" y="76200"/>
                      </a:cubicBezTo>
                      <a:cubicBezTo>
                        <a:pt x="114300" y="97208"/>
                        <a:pt x="97213" y="114300"/>
                        <a:pt x="76200" y="114300"/>
                      </a:cubicBezTo>
                      <a:cubicBezTo>
                        <a:pt x="55187" y="114300"/>
                        <a:pt x="38100" y="97208"/>
                        <a:pt x="38100" y="76200"/>
                      </a:cubicBezTo>
                      <a:cubicBezTo>
                        <a:pt x="38100" y="55192"/>
                        <a:pt x="55187" y="38100"/>
                        <a:pt x="76200" y="38100"/>
                      </a:cubicBezTo>
                      <a:close/>
                    </a:path>
                  </a:pathLst>
                </a:custGeom>
                <a:grpFill/>
                <a:ln w="9525" cap="flat">
                  <a:noFill/>
                  <a:prstDash val="solid"/>
                  <a:miter/>
                </a:ln>
              </p:spPr>
              <p:txBody>
                <a:bodyPr rtlCol="0" anchor="ctr"/>
                <a:lstStyle/>
                <a:p>
                  <a:pPr algn="r" rtl="1"/>
                  <a:endParaRPr lang="en-US"/>
                </a:p>
              </p:txBody>
            </p:sp>
            <p:sp>
              <p:nvSpPr>
                <p:cNvPr id="428" name="Freeform: Shape 427">
                  <a:extLst>
                    <a:ext uri="{FF2B5EF4-FFF2-40B4-BE49-F238E27FC236}">
                      <a16:creationId xmlns:a16="http://schemas.microsoft.com/office/drawing/2014/main" id="{722A97FD-D316-40D5-9FAE-1D27BCA9556E}"/>
                    </a:ext>
                  </a:extLst>
                </p:cNvPr>
                <p:cNvSpPr/>
                <p:nvPr/>
              </p:nvSpPr>
              <p:spPr>
                <a:xfrm>
                  <a:off x="-156153" y="3257869"/>
                  <a:ext cx="266700" cy="133350"/>
                </a:xfrm>
                <a:custGeom>
                  <a:avLst/>
                  <a:gdLst>
                    <a:gd name="connsiteX0" fmla="*/ 190500 w 266700"/>
                    <a:gd name="connsiteY0" fmla="*/ 0 h 133350"/>
                    <a:gd name="connsiteX1" fmla="*/ 76200 w 266700"/>
                    <a:gd name="connsiteY1" fmla="*/ 0 h 133350"/>
                    <a:gd name="connsiteX2" fmla="*/ 0 w 266700"/>
                    <a:gd name="connsiteY2" fmla="*/ 76200 h 133350"/>
                    <a:gd name="connsiteX3" fmla="*/ 0 w 266700"/>
                    <a:gd name="connsiteY3" fmla="*/ 133350 h 133350"/>
                    <a:gd name="connsiteX4" fmla="*/ 266700 w 266700"/>
                    <a:gd name="connsiteY4" fmla="*/ 133350 h 133350"/>
                    <a:gd name="connsiteX5" fmla="*/ 266700 w 266700"/>
                    <a:gd name="connsiteY5" fmla="*/ 76200 h 133350"/>
                    <a:gd name="connsiteX6" fmla="*/ 190500 w 266700"/>
                    <a:gd name="connsiteY6" fmla="*/ 0 h 133350"/>
                    <a:gd name="connsiteX7" fmla="*/ 228600 w 266700"/>
                    <a:gd name="connsiteY7" fmla="*/ 95250 h 133350"/>
                    <a:gd name="connsiteX8" fmla="*/ 38100 w 266700"/>
                    <a:gd name="connsiteY8" fmla="*/ 95250 h 133350"/>
                    <a:gd name="connsiteX9" fmla="*/ 38100 w 266700"/>
                    <a:gd name="connsiteY9" fmla="*/ 76200 h 133350"/>
                    <a:gd name="connsiteX10" fmla="*/ 76200 w 266700"/>
                    <a:gd name="connsiteY10" fmla="*/ 38100 h 133350"/>
                    <a:gd name="connsiteX11" fmla="*/ 190500 w 266700"/>
                    <a:gd name="connsiteY11" fmla="*/ 38100 h 133350"/>
                    <a:gd name="connsiteX12" fmla="*/ 228600 w 266700"/>
                    <a:gd name="connsiteY12" fmla="*/ 76200 h 133350"/>
                    <a:gd name="connsiteX13" fmla="*/ 228600 w 266700"/>
                    <a:gd name="connsiteY13" fmla="*/ 952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6700" h="133350">
                      <a:moveTo>
                        <a:pt x="190500" y="0"/>
                      </a:moveTo>
                      <a:lnTo>
                        <a:pt x="76200" y="0"/>
                      </a:lnTo>
                      <a:cubicBezTo>
                        <a:pt x="34184" y="0"/>
                        <a:pt x="0" y="34184"/>
                        <a:pt x="0" y="76200"/>
                      </a:cubicBezTo>
                      <a:lnTo>
                        <a:pt x="0" y="133350"/>
                      </a:lnTo>
                      <a:lnTo>
                        <a:pt x="266700" y="133350"/>
                      </a:lnTo>
                      <a:lnTo>
                        <a:pt x="266700" y="76200"/>
                      </a:lnTo>
                      <a:cubicBezTo>
                        <a:pt x="266700" y="34184"/>
                        <a:pt x="232516" y="0"/>
                        <a:pt x="190500" y="0"/>
                      </a:cubicBezTo>
                      <a:close/>
                      <a:moveTo>
                        <a:pt x="228600" y="95250"/>
                      </a:moveTo>
                      <a:lnTo>
                        <a:pt x="38100" y="95250"/>
                      </a:lnTo>
                      <a:lnTo>
                        <a:pt x="38100" y="76200"/>
                      </a:lnTo>
                      <a:cubicBezTo>
                        <a:pt x="38100" y="55192"/>
                        <a:pt x="55187" y="38100"/>
                        <a:pt x="76200" y="38100"/>
                      </a:cubicBezTo>
                      <a:lnTo>
                        <a:pt x="190500" y="38100"/>
                      </a:lnTo>
                      <a:cubicBezTo>
                        <a:pt x="211513" y="38100"/>
                        <a:pt x="228600" y="55192"/>
                        <a:pt x="228600" y="76200"/>
                      </a:cubicBezTo>
                      <a:lnTo>
                        <a:pt x="228600" y="95250"/>
                      </a:lnTo>
                      <a:close/>
                    </a:path>
                  </a:pathLst>
                </a:custGeom>
                <a:grpFill/>
                <a:ln w="9525" cap="flat">
                  <a:noFill/>
                  <a:prstDash val="solid"/>
                  <a:miter/>
                </a:ln>
              </p:spPr>
              <p:txBody>
                <a:bodyPr rtlCol="0" anchor="ctr"/>
                <a:lstStyle/>
                <a:p>
                  <a:pPr algn="r" rtl="1"/>
                  <a:endParaRPr lang="en-US"/>
                </a:p>
              </p:txBody>
            </p:sp>
            <p:sp>
              <p:nvSpPr>
                <p:cNvPr id="429" name="Freeform: Shape 428">
                  <a:extLst>
                    <a:ext uri="{FF2B5EF4-FFF2-40B4-BE49-F238E27FC236}">
                      <a16:creationId xmlns:a16="http://schemas.microsoft.com/office/drawing/2014/main" id="{04BAADFD-D467-4508-9A3B-3A5645CC5775}"/>
                    </a:ext>
                  </a:extLst>
                </p:cNvPr>
                <p:cNvSpPr/>
                <p:nvPr/>
              </p:nvSpPr>
              <p:spPr>
                <a:xfrm>
                  <a:off x="-222828" y="2962594"/>
                  <a:ext cx="666750" cy="514350"/>
                </a:xfrm>
                <a:custGeom>
                  <a:avLst/>
                  <a:gdLst>
                    <a:gd name="connsiteX0" fmla="*/ 419100 w 666750"/>
                    <a:gd name="connsiteY0" fmla="*/ 0 h 514350"/>
                    <a:gd name="connsiteX1" fmla="*/ 247650 w 666750"/>
                    <a:gd name="connsiteY1" fmla="*/ 0 h 514350"/>
                    <a:gd name="connsiteX2" fmla="*/ 247650 w 666750"/>
                    <a:gd name="connsiteY2" fmla="*/ 38100 h 514350"/>
                    <a:gd name="connsiteX3" fmla="*/ 0 w 666750"/>
                    <a:gd name="connsiteY3" fmla="*/ 38100 h 514350"/>
                    <a:gd name="connsiteX4" fmla="*/ 0 w 666750"/>
                    <a:gd name="connsiteY4" fmla="*/ 514350 h 514350"/>
                    <a:gd name="connsiteX5" fmla="*/ 666750 w 666750"/>
                    <a:gd name="connsiteY5" fmla="*/ 514350 h 514350"/>
                    <a:gd name="connsiteX6" fmla="*/ 666750 w 666750"/>
                    <a:gd name="connsiteY6" fmla="*/ 38100 h 514350"/>
                    <a:gd name="connsiteX7" fmla="*/ 419100 w 666750"/>
                    <a:gd name="connsiteY7" fmla="*/ 38100 h 514350"/>
                    <a:gd name="connsiteX8" fmla="*/ 419100 w 666750"/>
                    <a:gd name="connsiteY8" fmla="*/ 0 h 514350"/>
                    <a:gd name="connsiteX9" fmla="*/ 285750 w 666750"/>
                    <a:gd name="connsiteY9" fmla="*/ 38100 h 514350"/>
                    <a:gd name="connsiteX10" fmla="*/ 381000 w 666750"/>
                    <a:gd name="connsiteY10" fmla="*/ 38100 h 514350"/>
                    <a:gd name="connsiteX11" fmla="*/ 381000 w 666750"/>
                    <a:gd name="connsiteY11" fmla="*/ 76200 h 514350"/>
                    <a:gd name="connsiteX12" fmla="*/ 285750 w 666750"/>
                    <a:gd name="connsiteY12" fmla="*/ 76200 h 514350"/>
                    <a:gd name="connsiteX13" fmla="*/ 285750 w 666750"/>
                    <a:gd name="connsiteY13" fmla="*/ 38100 h 514350"/>
                    <a:gd name="connsiteX14" fmla="*/ 628650 w 666750"/>
                    <a:gd name="connsiteY14" fmla="*/ 76200 h 514350"/>
                    <a:gd name="connsiteX15" fmla="*/ 628650 w 666750"/>
                    <a:gd name="connsiteY15" fmla="*/ 476250 h 514350"/>
                    <a:gd name="connsiteX16" fmla="*/ 38100 w 666750"/>
                    <a:gd name="connsiteY16" fmla="*/ 476250 h 514350"/>
                    <a:gd name="connsiteX17" fmla="*/ 38100 w 666750"/>
                    <a:gd name="connsiteY17" fmla="*/ 76200 h 514350"/>
                    <a:gd name="connsiteX18" fmla="*/ 247650 w 666750"/>
                    <a:gd name="connsiteY18" fmla="*/ 76200 h 514350"/>
                    <a:gd name="connsiteX19" fmla="*/ 247650 w 666750"/>
                    <a:gd name="connsiteY19" fmla="*/ 114300 h 514350"/>
                    <a:gd name="connsiteX20" fmla="*/ 419100 w 666750"/>
                    <a:gd name="connsiteY20" fmla="*/ 114300 h 514350"/>
                    <a:gd name="connsiteX21" fmla="*/ 419100 w 666750"/>
                    <a:gd name="connsiteY21" fmla="*/ 76200 h 514350"/>
                    <a:gd name="connsiteX22" fmla="*/ 628650 w 666750"/>
                    <a:gd name="connsiteY22" fmla="*/ 7620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66750" h="514350">
                      <a:moveTo>
                        <a:pt x="419100" y="0"/>
                      </a:moveTo>
                      <a:lnTo>
                        <a:pt x="247650" y="0"/>
                      </a:lnTo>
                      <a:lnTo>
                        <a:pt x="247650" y="38100"/>
                      </a:lnTo>
                      <a:lnTo>
                        <a:pt x="0" y="38100"/>
                      </a:lnTo>
                      <a:lnTo>
                        <a:pt x="0" y="514350"/>
                      </a:lnTo>
                      <a:lnTo>
                        <a:pt x="666750" y="514350"/>
                      </a:lnTo>
                      <a:lnTo>
                        <a:pt x="666750" y="38100"/>
                      </a:lnTo>
                      <a:lnTo>
                        <a:pt x="419100" y="38100"/>
                      </a:lnTo>
                      <a:lnTo>
                        <a:pt x="419100" y="0"/>
                      </a:lnTo>
                      <a:close/>
                      <a:moveTo>
                        <a:pt x="285750" y="38100"/>
                      </a:moveTo>
                      <a:lnTo>
                        <a:pt x="381000" y="38100"/>
                      </a:lnTo>
                      <a:lnTo>
                        <a:pt x="381000" y="76200"/>
                      </a:lnTo>
                      <a:lnTo>
                        <a:pt x="285750" y="76200"/>
                      </a:lnTo>
                      <a:lnTo>
                        <a:pt x="285750" y="38100"/>
                      </a:lnTo>
                      <a:close/>
                      <a:moveTo>
                        <a:pt x="628650" y="76200"/>
                      </a:moveTo>
                      <a:lnTo>
                        <a:pt x="628650" y="476250"/>
                      </a:lnTo>
                      <a:lnTo>
                        <a:pt x="38100" y="476250"/>
                      </a:lnTo>
                      <a:lnTo>
                        <a:pt x="38100" y="76200"/>
                      </a:lnTo>
                      <a:lnTo>
                        <a:pt x="247650" y="76200"/>
                      </a:lnTo>
                      <a:lnTo>
                        <a:pt x="247650" y="114300"/>
                      </a:lnTo>
                      <a:lnTo>
                        <a:pt x="419100" y="114300"/>
                      </a:lnTo>
                      <a:lnTo>
                        <a:pt x="419100" y="76200"/>
                      </a:lnTo>
                      <a:lnTo>
                        <a:pt x="628650" y="76200"/>
                      </a:lnTo>
                      <a:close/>
                    </a:path>
                  </a:pathLst>
                </a:custGeom>
                <a:grpFill/>
                <a:ln w="9525" cap="flat">
                  <a:noFill/>
                  <a:prstDash val="solid"/>
                  <a:miter/>
                </a:ln>
              </p:spPr>
              <p:txBody>
                <a:bodyPr rtlCol="0" anchor="ctr"/>
                <a:lstStyle/>
                <a:p>
                  <a:pPr algn="r" rtl="1"/>
                  <a:endParaRPr lang="en-US"/>
                </a:p>
              </p:txBody>
            </p:sp>
            <p:sp>
              <p:nvSpPr>
                <p:cNvPr id="430" name="Freeform: Shape 429">
                  <a:extLst>
                    <a:ext uri="{FF2B5EF4-FFF2-40B4-BE49-F238E27FC236}">
                      <a16:creationId xmlns:a16="http://schemas.microsoft.com/office/drawing/2014/main" id="{DF915F89-BFEC-4477-8861-59AD1026CFBF}"/>
                    </a:ext>
                  </a:extLst>
                </p:cNvPr>
                <p:cNvSpPr/>
                <p:nvPr/>
              </p:nvSpPr>
              <p:spPr>
                <a:xfrm>
                  <a:off x="224847" y="3124519"/>
                  <a:ext cx="152400" cy="38100"/>
                </a:xfrm>
                <a:custGeom>
                  <a:avLst/>
                  <a:gdLst>
                    <a:gd name="connsiteX0" fmla="*/ 0 w 152400"/>
                    <a:gd name="connsiteY0" fmla="*/ 0 h 38100"/>
                    <a:gd name="connsiteX1" fmla="*/ 152400 w 152400"/>
                    <a:gd name="connsiteY1" fmla="*/ 0 h 38100"/>
                    <a:gd name="connsiteX2" fmla="*/ 152400 w 152400"/>
                    <a:gd name="connsiteY2" fmla="*/ 38100 h 38100"/>
                    <a:gd name="connsiteX3" fmla="*/ 0 w 1524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400" h="38100">
                      <a:moveTo>
                        <a:pt x="0" y="0"/>
                      </a:moveTo>
                      <a:lnTo>
                        <a:pt x="152400" y="0"/>
                      </a:lnTo>
                      <a:lnTo>
                        <a:pt x="152400" y="38100"/>
                      </a:lnTo>
                      <a:lnTo>
                        <a:pt x="0" y="38100"/>
                      </a:lnTo>
                      <a:close/>
                    </a:path>
                  </a:pathLst>
                </a:custGeom>
                <a:grpFill/>
                <a:ln w="9525" cap="flat">
                  <a:noFill/>
                  <a:prstDash val="solid"/>
                  <a:miter/>
                </a:ln>
              </p:spPr>
              <p:txBody>
                <a:bodyPr rtlCol="0" anchor="ctr"/>
                <a:lstStyle/>
                <a:p>
                  <a:pPr algn="r" rtl="1"/>
                  <a:endParaRPr lang="en-US"/>
                </a:p>
              </p:txBody>
            </p:sp>
            <p:sp>
              <p:nvSpPr>
                <p:cNvPr id="431" name="Freeform: Shape 430">
                  <a:extLst>
                    <a:ext uri="{FF2B5EF4-FFF2-40B4-BE49-F238E27FC236}">
                      <a16:creationId xmlns:a16="http://schemas.microsoft.com/office/drawing/2014/main" id="{1C9292DA-A7A7-427B-A1C9-E286CDCE7BD8}"/>
                    </a:ext>
                  </a:extLst>
                </p:cNvPr>
                <p:cNvSpPr/>
                <p:nvPr/>
              </p:nvSpPr>
              <p:spPr>
                <a:xfrm>
                  <a:off x="148647" y="3238819"/>
                  <a:ext cx="228600" cy="38100"/>
                </a:xfrm>
                <a:custGeom>
                  <a:avLst/>
                  <a:gdLst>
                    <a:gd name="connsiteX0" fmla="*/ 0 w 228600"/>
                    <a:gd name="connsiteY0" fmla="*/ 0 h 38100"/>
                    <a:gd name="connsiteX1" fmla="*/ 228600 w 228600"/>
                    <a:gd name="connsiteY1" fmla="*/ 0 h 38100"/>
                    <a:gd name="connsiteX2" fmla="*/ 228600 w 228600"/>
                    <a:gd name="connsiteY2" fmla="*/ 38100 h 38100"/>
                    <a:gd name="connsiteX3" fmla="*/ 0 w 2286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228600" h="38100">
                      <a:moveTo>
                        <a:pt x="0" y="0"/>
                      </a:moveTo>
                      <a:lnTo>
                        <a:pt x="228600" y="0"/>
                      </a:lnTo>
                      <a:lnTo>
                        <a:pt x="228600" y="38100"/>
                      </a:lnTo>
                      <a:lnTo>
                        <a:pt x="0" y="38100"/>
                      </a:lnTo>
                      <a:close/>
                    </a:path>
                  </a:pathLst>
                </a:custGeom>
                <a:grpFill/>
                <a:ln w="9525" cap="flat">
                  <a:noFill/>
                  <a:prstDash val="solid"/>
                  <a:miter/>
                </a:ln>
              </p:spPr>
              <p:txBody>
                <a:bodyPr rtlCol="0" anchor="ctr"/>
                <a:lstStyle/>
                <a:p>
                  <a:pPr algn="r" rtl="1"/>
                  <a:endParaRPr lang="en-US"/>
                </a:p>
              </p:txBody>
            </p:sp>
            <p:sp>
              <p:nvSpPr>
                <p:cNvPr id="432" name="Freeform: Shape 431">
                  <a:extLst>
                    <a:ext uri="{FF2B5EF4-FFF2-40B4-BE49-F238E27FC236}">
                      <a16:creationId xmlns:a16="http://schemas.microsoft.com/office/drawing/2014/main" id="{EC3AE75A-281E-41EF-8A8C-BA3A61276B79}"/>
                    </a:ext>
                  </a:extLst>
                </p:cNvPr>
                <p:cNvSpPr/>
                <p:nvPr/>
              </p:nvSpPr>
              <p:spPr>
                <a:xfrm>
                  <a:off x="148647" y="3353119"/>
                  <a:ext cx="228600" cy="38100"/>
                </a:xfrm>
                <a:custGeom>
                  <a:avLst/>
                  <a:gdLst>
                    <a:gd name="connsiteX0" fmla="*/ 0 w 228600"/>
                    <a:gd name="connsiteY0" fmla="*/ 0 h 38100"/>
                    <a:gd name="connsiteX1" fmla="*/ 228600 w 228600"/>
                    <a:gd name="connsiteY1" fmla="*/ 0 h 38100"/>
                    <a:gd name="connsiteX2" fmla="*/ 228600 w 228600"/>
                    <a:gd name="connsiteY2" fmla="*/ 38100 h 38100"/>
                    <a:gd name="connsiteX3" fmla="*/ 0 w 2286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228600" h="38100">
                      <a:moveTo>
                        <a:pt x="0" y="0"/>
                      </a:moveTo>
                      <a:lnTo>
                        <a:pt x="228600" y="0"/>
                      </a:lnTo>
                      <a:lnTo>
                        <a:pt x="228600" y="38100"/>
                      </a:lnTo>
                      <a:lnTo>
                        <a:pt x="0" y="38100"/>
                      </a:lnTo>
                      <a:close/>
                    </a:path>
                  </a:pathLst>
                </a:custGeom>
                <a:grpFill/>
                <a:ln w="9525" cap="flat">
                  <a:noFill/>
                  <a:prstDash val="solid"/>
                  <a:miter/>
                </a:ln>
              </p:spPr>
              <p:txBody>
                <a:bodyPr rtlCol="0" anchor="ctr"/>
                <a:lstStyle/>
                <a:p>
                  <a:pPr algn="r" rtl="1"/>
                  <a:endParaRPr lang="en-US"/>
                </a:p>
              </p:txBody>
            </p:sp>
          </p:grpSp>
        </p:grpSp>
        <p:sp>
          <p:nvSpPr>
            <p:cNvPr id="421" name="Rectangle: Rounded Corners 420">
              <a:extLst>
                <a:ext uri="{FF2B5EF4-FFF2-40B4-BE49-F238E27FC236}">
                  <a16:creationId xmlns:a16="http://schemas.microsoft.com/office/drawing/2014/main" id="{3294071E-AD0A-4DFA-81FD-1CE04381200E}"/>
                </a:ext>
              </a:extLst>
            </p:cNvPr>
            <p:cNvSpPr/>
            <p:nvPr/>
          </p:nvSpPr>
          <p:spPr>
            <a:xfrm>
              <a:off x="2897156" y="2726791"/>
              <a:ext cx="231796" cy="384151"/>
            </a:xfrm>
            <a:prstGeom prst="roundRect">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grpSp>
          <p:nvGrpSpPr>
            <p:cNvPr id="422" name="Group 421">
              <a:extLst>
                <a:ext uri="{FF2B5EF4-FFF2-40B4-BE49-F238E27FC236}">
                  <a16:creationId xmlns:a16="http://schemas.microsoft.com/office/drawing/2014/main" id="{F46FA487-D8E1-4174-9145-4127AD7692A9}"/>
                </a:ext>
              </a:extLst>
            </p:cNvPr>
            <p:cNvGrpSpPr/>
            <p:nvPr/>
          </p:nvGrpSpPr>
          <p:grpSpPr>
            <a:xfrm>
              <a:off x="2903260" y="2751703"/>
              <a:ext cx="237721" cy="302552"/>
              <a:chOff x="2306931" y="2727173"/>
              <a:chExt cx="245064" cy="311899"/>
            </a:xfrm>
          </p:grpSpPr>
          <p:sp>
            <p:nvSpPr>
              <p:cNvPr id="423" name="Rectangle: Rounded Corners 422">
                <a:extLst>
                  <a:ext uri="{FF2B5EF4-FFF2-40B4-BE49-F238E27FC236}">
                    <a16:creationId xmlns:a16="http://schemas.microsoft.com/office/drawing/2014/main" id="{EBB78219-B8ED-43E9-844F-490A6B267DE2}"/>
                  </a:ext>
                </a:extLst>
              </p:cNvPr>
              <p:cNvSpPr/>
              <p:nvPr/>
            </p:nvSpPr>
            <p:spPr>
              <a:xfrm>
                <a:off x="2314575" y="2870835"/>
                <a:ext cx="222885" cy="154305"/>
              </a:xfrm>
              <a:prstGeom prst="roundRect">
                <a:avLst/>
              </a:prstGeom>
              <a:solidFill>
                <a:srgbClr val="A1E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424" name="Freeform: Shape 423">
                <a:extLst>
                  <a:ext uri="{FF2B5EF4-FFF2-40B4-BE49-F238E27FC236}">
                    <a16:creationId xmlns:a16="http://schemas.microsoft.com/office/drawing/2014/main" id="{6C726FBA-94B1-4CD6-8450-66FBC1A1A49A}"/>
                  </a:ext>
                </a:extLst>
              </p:cNvPr>
              <p:cNvSpPr/>
              <p:nvPr/>
            </p:nvSpPr>
            <p:spPr>
              <a:xfrm>
                <a:off x="2306931" y="2727173"/>
                <a:ext cx="245064" cy="311899"/>
              </a:xfrm>
              <a:custGeom>
                <a:avLst/>
                <a:gdLst>
                  <a:gd name="connsiteX0" fmla="*/ 200025 w 209550"/>
                  <a:gd name="connsiteY0" fmla="*/ 114300 h 266700"/>
                  <a:gd name="connsiteX1" fmla="*/ 190500 w 209550"/>
                  <a:gd name="connsiteY1" fmla="*/ 114300 h 266700"/>
                  <a:gd name="connsiteX2" fmla="*/ 190500 w 209550"/>
                  <a:gd name="connsiteY2" fmla="*/ 85725 h 266700"/>
                  <a:gd name="connsiteX3" fmla="*/ 104775 w 209550"/>
                  <a:gd name="connsiteY3" fmla="*/ 0 h 266700"/>
                  <a:gd name="connsiteX4" fmla="*/ 19050 w 209550"/>
                  <a:gd name="connsiteY4" fmla="*/ 85725 h 266700"/>
                  <a:gd name="connsiteX5" fmla="*/ 19050 w 209550"/>
                  <a:gd name="connsiteY5" fmla="*/ 114300 h 266700"/>
                  <a:gd name="connsiteX6" fmla="*/ 9525 w 209550"/>
                  <a:gd name="connsiteY6" fmla="*/ 114300 h 266700"/>
                  <a:gd name="connsiteX7" fmla="*/ 0 w 209550"/>
                  <a:gd name="connsiteY7" fmla="*/ 123825 h 266700"/>
                  <a:gd name="connsiteX8" fmla="*/ 0 w 209550"/>
                  <a:gd name="connsiteY8" fmla="*/ 257175 h 266700"/>
                  <a:gd name="connsiteX9" fmla="*/ 9525 w 209550"/>
                  <a:gd name="connsiteY9" fmla="*/ 266700 h 266700"/>
                  <a:gd name="connsiteX10" fmla="*/ 200025 w 209550"/>
                  <a:gd name="connsiteY10" fmla="*/ 266700 h 266700"/>
                  <a:gd name="connsiteX11" fmla="*/ 209550 w 209550"/>
                  <a:gd name="connsiteY11" fmla="*/ 257175 h 266700"/>
                  <a:gd name="connsiteX12" fmla="*/ 209550 w 209550"/>
                  <a:gd name="connsiteY12" fmla="*/ 123825 h 266700"/>
                  <a:gd name="connsiteX13" fmla="*/ 200025 w 209550"/>
                  <a:gd name="connsiteY13" fmla="*/ 114300 h 266700"/>
                  <a:gd name="connsiteX14" fmla="*/ 38100 w 209550"/>
                  <a:gd name="connsiteY14" fmla="*/ 85725 h 266700"/>
                  <a:gd name="connsiteX15" fmla="*/ 104775 w 209550"/>
                  <a:gd name="connsiteY15" fmla="*/ 19050 h 266700"/>
                  <a:gd name="connsiteX16" fmla="*/ 171450 w 209550"/>
                  <a:gd name="connsiteY16" fmla="*/ 85725 h 266700"/>
                  <a:gd name="connsiteX17" fmla="*/ 171450 w 209550"/>
                  <a:gd name="connsiteY17" fmla="*/ 114300 h 266700"/>
                  <a:gd name="connsiteX18" fmla="*/ 38100 w 209550"/>
                  <a:gd name="connsiteY18" fmla="*/ 114300 h 266700"/>
                  <a:gd name="connsiteX19" fmla="*/ 190500 w 209550"/>
                  <a:gd name="connsiteY19" fmla="*/ 247650 h 266700"/>
                  <a:gd name="connsiteX20" fmla="*/ 19050 w 209550"/>
                  <a:gd name="connsiteY20" fmla="*/ 247650 h 266700"/>
                  <a:gd name="connsiteX21" fmla="*/ 19050 w 209550"/>
                  <a:gd name="connsiteY21" fmla="*/ 133350 h 266700"/>
                  <a:gd name="connsiteX22" fmla="*/ 190500 w 209550"/>
                  <a:gd name="connsiteY22" fmla="*/ 133350 h 266700"/>
                  <a:gd name="connsiteX23" fmla="*/ 104775 w 209550"/>
                  <a:gd name="connsiteY23" fmla="*/ 161925 h 266700"/>
                  <a:gd name="connsiteX24" fmla="*/ 76200 w 209550"/>
                  <a:gd name="connsiteY24" fmla="*/ 190500 h 266700"/>
                  <a:gd name="connsiteX25" fmla="*/ 104775 w 209550"/>
                  <a:gd name="connsiteY25" fmla="*/ 219075 h 266700"/>
                  <a:gd name="connsiteX26" fmla="*/ 133350 w 209550"/>
                  <a:gd name="connsiteY26" fmla="*/ 190500 h 266700"/>
                  <a:gd name="connsiteX27" fmla="*/ 104775 w 209550"/>
                  <a:gd name="connsiteY27" fmla="*/ 161925 h 266700"/>
                  <a:gd name="connsiteX28" fmla="*/ 104775 w 209550"/>
                  <a:gd name="connsiteY28" fmla="*/ 200025 h 266700"/>
                  <a:gd name="connsiteX29" fmla="*/ 95250 w 209550"/>
                  <a:gd name="connsiteY29" fmla="*/ 190500 h 266700"/>
                  <a:gd name="connsiteX30" fmla="*/ 104775 w 209550"/>
                  <a:gd name="connsiteY30" fmla="*/ 180975 h 266700"/>
                  <a:gd name="connsiteX31" fmla="*/ 114300 w 209550"/>
                  <a:gd name="connsiteY31" fmla="*/ 190500 h 266700"/>
                  <a:gd name="connsiteX32" fmla="*/ 104775 w 209550"/>
                  <a:gd name="connsiteY32" fmla="*/ 20002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9550" h="266700">
                    <a:moveTo>
                      <a:pt x="200025" y="114300"/>
                    </a:moveTo>
                    <a:lnTo>
                      <a:pt x="190500" y="114300"/>
                    </a:lnTo>
                    <a:lnTo>
                      <a:pt x="190500" y="85725"/>
                    </a:lnTo>
                    <a:cubicBezTo>
                      <a:pt x="190500" y="38380"/>
                      <a:pt x="152120" y="0"/>
                      <a:pt x="104775" y="0"/>
                    </a:cubicBezTo>
                    <a:cubicBezTo>
                      <a:pt x="57430" y="0"/>
                      <a:pt x="19050" y="38380"/>
                      <a:pt x="19050" y="85725"/>
                    </a:cubicBezTo>
                    <a:lnTo>
                      <a:pt x="19050" y="114300"/>
                    </a:lnTo>
                    <a:lnTo>
                      <a:pt x="9525" y="114300"/>
                    </a:lnTo>
                    <a:cubicBezTo>
                      <a:pt x="4265" y="114300"/>
                      <a:pt x="0" y="118564"/>
                      <a:pt x="0" y="123825"/>
                    </a:cubicBezTo>
                    <a:lnTo>
                      <a:pt x="0" y="257175"/>
                    </a:lnTo>
                    <a:cubicBezTo>
                      <a:pt x="0" y="262436"/>
                      <a:pt x="4265" y="266700"/>
                      <a:pt x="9525" y="266700"/>
                    </a:cubicBezTo>
                    <a:lnTo>
                      <a:pt x="200025" y="266700"/>
                    </a:lnTo>
                    <a:cubicBezTo>
                      <a:pt x="205286" y="266700"/>
                      <a:pt x="209550" y="262436"/>
                      <a:pt x="209550" y="257175"/>
                    </a:cubicBezTo>
                    <a:lnTo>
                      <a:pt x="209550" y="123825"/>
                    </a:lnTo>
                    <a:cubicBezTo>
                      <a:pt x="209550" y="118564"/>
                      <a:pt x="205286" y="114300"/>
                      <a:pt x="200025" y="114300"/>
                    </a:cubicBezTo>
                    <a:close/>
                    <a:moveTo>
                      <a:pt x="38100" y="85725"/>
                    </a:moveTo>
                    <a:cubicBezTo>
                      <a:pt x="38100" y="48901"/>
                      <a:pt x="67951" y="19050"/>
                      <a:pt x="104775" y="19050"/>
                    </a:cubicBezTo>
                    <a:cubicBezTo>
                      <a:pt x="141599" y="19050"/>
                      <a:pt x="171450" y="48901"/>
                      <a:pt x="171450" y="85725"/>
                    </a:cubicBezTo>
                    <a:lnTo>
                      <a:pt x="171450" y="114300"/>
                    </a:lnTo>
                    <a:lnTo>
                      <a:pt x="38100" y="114300"/>
                    </a:lnTo>
                    <a:close/>
                    <a:moveTo>
                      <a:pt x="190500" y="247650"/>
                    </a:moveTo>
                    <a:lnTo>
                      <a:pt x="19050" y="247650"/>
                    </a:lnTo>
                    <a:lnTo>
                      <a:pt x="19050" y="133350"/>
                    </a:lnTo>
                    <a:lnTo>
                      <a:pt x="190500" y="133350"/>
                    </a:lnTo>
                    <a:close/>
                    <a:moveTo>
                      <a:pt x="104775" y="161925"/>
                    </a:moveTo>
                    <a:cubicBezTo>
                      <a:pt x="88993" y="161925"/>
                      <a:pt x="76200" y="174718"/>
                      <a:pt x="76200" y="190500"/>
                    </a:cubicBezTo>
                    <a:cubicBezTo>
                      <a:pt x="76200" y="206282"/>
                      <a:pt x="88993" y="219075"/>
                      <a:pt x="104775" y="219075"/>
                    </a:cubicBezTo>
                    <a:cubicBezTo>
                      <a:pt x="120557" y="219075"/>
                      <a:pt x="133350" y="206282"/>
                      <a:pt x="133350" y="190500"/>
                    </a:cubicBezTo>
                    <a:cubicBezTo>
                      <a:pt x="133350" y="174718"/>
                      <a:pt x="120557" y="161925"/>
                      <a:pt x="104775" y="161925"/>
                    </a:cubicBezTo>
                    <a:close/>
                    <a:moveTo>
                      <a:pt x="104775" y="200025"/>
                    </a:moveTo>
                    <a:cubicBezTo>
                      <a:pt x="99514" y="200025"/>
                      <a:pt x="95250" y="195761"/>
                      <a:pt x="95250" y="190500"/>
                    </a:cubicBezTo>
                    <a:cubicBezTo>
                      <a:pt x="95250" y="185239"/>
                      <a:pt x="99514" y="180975"/>
                      <a:pt x="104775" y="180975"/>
                    </a:cubicBezTo>
                    <a:cubicBezTo>
                      <a:pt x="110036" y="180975"/>
                      <a:pt x="114300" y="185239"/>
                      <a:pt x="114300" y="190500"/>
                    </a:cubicBezTo>
                    <a:cubicBezTo>
                      <a:pt x="114300" y="195761"/>
                      <a:pt x="110036" y="200025"/>
                      <a:pt x="104775" y="200025"/>
                    </a:cubicBezTo>
                    <a:close/>
                  </a:path>
                </a:pathLst>
              </a:custGeom>
              <a:solidFill>
                <a:schemeClr val="tx2"/>
              </a:solidFill>
              <a:ln w="9525" cap="flat">
                <a:noFill/>
                <a:prstDash val="solid"/>
                <a:miter/>
              </a:ln>
            </p:spPr>
            <p:txBody>
              <a:bodyPr rtlCol="0" anchor="ctr"/>
              <a:lstStyle/>
              <a:p>
                <a:pPr algn="r" rtl="1"/>
                <a:endParaRPr lang="en-US"/>
              </a:p>
            </p:txBody>
          </p:sp>
        </p:grpSp>
      </p:grpSp>
      <p:grpSp>
        <p:nvGrpSpPr>
          <p:cNvPr id="167" name="Group 166">
            <a:extLst>
              <a:ext uri="{FF2B5EF4-FFF2-40B4-BE49-F238E27FC236}">
                <a16:creationId xmlns:a16="http://schemas.microsoft.com/office/drawing/2014/main" id="{11898EEB-EEBA-493E-8C61-381FF84B7918}"/>
              </a:ext>
            </a:extLst>
          </p:cNvPr>
          <p:cNvGrpSpPr/>
          <p:nvPr/>
        </p:nvGrpSpPr>
        <p:grpSpPr>
          <a:xfrm flipH="1">
            <a:off x="2538701" y="4571980"/>
            <a:ext cx="525039" cy="580426"/>
            <a:chOff x="9058912" y="4536608"/>
            <a:chExt cx="525039" cy="580426"/>
          </a:xfrm>
        </p:grpSpPr>
        <p:grpSp>
          <p:nvGrpSpPr>
            <p:cNvPr id="212" name="Group 211">
              <a:extLst>
                <a:ext uri="{FF2B5EF4-FFF2-40B4-BE49-F238E27FC236}">
                  <a16:creationId xmlns:a16="http://schemas.microsoft.com/office/drawing/2014/main" id="{0EEF805A-22E4-4DD3-A8D2-DFEEE8760A5F}"/>
                </a:ext>
              </a:extLst>
            </p:cNvPr>
            <p:cNvGrpSpPr/>
            <p:nvPr/>
          </p:nvGrpSpPr>
          <p:grpSpPr>
            <a:xfrm>
              <a:off x="9245359" y="4536608"/>
              <a:ext cx="338592" cy="415447"/>
              <a:chOff x="10896968" y="3049128"/>
              <a:chExt cx="426577" cy="523407"/>
            </a:xfrm>
          </p:grpSpPr>
          <p:sp>
            <p:nvSpPr>
              <p:cNvPr id="213" name="Rectangle 212">
                <a:extLst>
                  <a:ext uri="{FF2B5EF4-FFF2-40B4-BE49-F238E27FC236}">
                    <a16:creationId xmlns:a16="http://schemas.microsoft.com/office/drawing/2014/main" id="{1334B59D-765F-4596-B4FF-9914AE30315E}"/>
                  </a:ext>
                </a:extLst>
              </p:cNvPr>
              <p:cNvSpPr/>
              <p:nvPr/>
            </p:nvSpPr>
            <p:spPr>
              <a:xfrm>
                <a:off x="10919460" y="3061335"/>
                <a:ext cx="384810" cy="495300"/>
              </a:xfrm>
              <a:prstGeom prst="rect">
                <a:avLst/>
              </a:prstGeom>
              <a:solidFill>
                <a:srgbClr val="A1E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grpSp>
            <p:nvGrpSpPr>
              <p:cNvPr id="214" name="Graphic 262">
                <a:extLst>
                  <a:ext uri="{FF2B5EF4-FFF2-40B4-BE49-F238E27FC236}">
                    <a16:creationId xmlns:a16="http://schemas.microsoft.com/office/drawing/2014/main" id="{AC992786-E441-466C-94E1-83CF1EF39AFF}"/>
                  </a:ext>
                </a:extLst>
              </p:cNvPr>
              <p:cNvGrpSpPr/>
              <p:nvPr/>
            </p:nvGrpSpPr>
            <p:grpSpPr>
              <a:xfrm>
                <a:off x="10896968" y="3049128"/>
                <a:ext cx="426577" cy="523407"/>
                <a:chOff x="11429005" y="3235164"/>
                <a:chExt cx="372618" cy="457200"/>
              </a:xfrm>
              <a:solidFill>
                <a:schemeClr val="tx1"/>
              </a:solidFill>
            </p:grpSpPr>
            <p:sp>
              <p:nvSpPr>
                <p:cNvPr id="216" name="Freeform: Shape 215">
                  <a:extLst>
                    <a:ext uri="{FF2B5EF4-FFF2-40B4-BE49-F238E27FC236}">
                      <a16:creationId xmlns:a16="http://schemas.microsoft.com/office/drawing/2014/main" id="{9F0C71E3-74E5-423F-9557-0548C9048A32}"/>
                    </a:ext>
                  </a:extLst>
                </p:cNvPr>
                <p:cNvSpPr/>
                <p:nvPr/>
              </p:nvSpPr>
              <p:spPr>
                <a:xfrm>
                  <a:off x="11429005" y="3235164"/>
                  <a:ext cx="372618" cy="457200"/>
                </a:xfrm>
                <a:custGeom>
                  <a:avLst/>
                  <a:gdLst>
                    <a:gd name="connsiteX0" fmla="*/ 360521 w 372618"/>
                    <a:gd name="connsiteY0" fmla="*/ 0 h 457200"/>
                    <a:gd name="connsiteX1" fmla="*/ 293275 w 372618"/>
                    <a:gd name="connsiteY1" fmla="*/ 0 h 457200"/>
                    <a:gd name="connsiteX2" fmla="*/ 302609 w 372618"/>
                    <a:gd name="connsiteY2" fmla="*/ 12859 h 457200"/>
                    <a:gd name="connsiteX3" fmla="*/ 302609 w 372618"/>
                    <a:gd name="connsiteY3" fmla="*/ 17431 h 457200"/>
                    <a:gd name="connsiteX4" fmla="*/ 302514 w 372618"/>
                    <a:gd name="connsiteY4" fmla="*/ 19145 h 457200"/>
                    <a:gd name="connsiteX5" fmla="*/ 353473 w 372618"/>
                    <a:gd name="connsiteY5" fmla="*/ 19145 h 457200"/>
                    <a:gd name="connsiteX6" fmla="*/ 353473 w 372618"/>
                    <a:gd name="connsiteY6" fmla="*/ 438055 h 457200"/>
                    <a:gd name="connsiteX7" fmla="*/ 19145 w 372618"/>
                    <a:gd name="connsiteY7" fmla="*/ 438055 h 457200"/>
                    <a:gd name="connsiteX8" fmla="*/ 19145 w 372618"/>
                    <a:gd name="connsiteY8" fmla="*/ 19145 h 457200"/>
                    <a:gd name="connsiteX9" fmla="*/ 70104 w 372618"/>
                    <a:gd name="connsiteY9" fmla="*/ 19145 h 457200"/>
                    <a:gd name="connsiteX10" fmla="*/ 70009 w 372618"/>
                    <a:gd name="connsiteY10" fmla="*/ 17431 h 457200"/>
                    <a:gd name="connsiteX11" fmla="*/ 70009 w 372618"/>
                    <a:gd name="connsiteY11" fmla="*/ 12859 h 457200"/>
                    <a:gd name="connsiteX12" fmla="*/ 79343 w 372618"/>
                    <a:gd name="connsiteY12" fmla="*/ 0 h 457200"/>
                    <a:gd name="connsiteX13" fmla="*/ 12097 w 372618"/>
                    <a:gd name="connsiteY13" fmla="*/ 0 h 457200"/>
                    <a:gd name="connsiteX14" fmla="*/ 0 w 372618"/>
                    <a:gd name="connsiteY14" fmla="*/ 12192 h 457200"/>
                    <a:gd name="connsiteX15" fmla="*/ 0 w 372618"/>
                    <a:gd name="connsiteY15" fmla="*/ 445103 h 457200"/>
                    <a:gd name="connsiteX16" fmla="*/ 12097 w 372618"/>
                    <a:gd name="connsiteY16" fmla="*/ 457200 h 457200"/>
                    <a:gd name="connsiteX17" fmla="*/ 360521 w 372618"/>
                    <a:gd name="connsiteY17" fmla="*/ 457200 h 457200"/>
                    <a:gd name="connsiteX18" fmla="*/ 372618 w 372618"/>
                    <a:gd name="connsiteY18" fmla="*/ 445103 h 457200"/>
                    <a:gd name="connsiteX19" fmla="*/ 372618 w 372618"/>
                    <a:gd name="connsiteY19" fmla="*/ 12192 h 457200"/>
                    <a:gd name="connsiteX20" fmla="*/ 360521 w 372618"/>
                    <a:gd name="connsiteY20"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2618" h="457200">
                      <a:moveTo>
                        <a:pt x="360521" y="0"/>
                      </a:moveTo>
                      <a:lnTo>
                        <a:pt x="293275" y="0"/>
                      </a:lnTo>
                      <a:cubicBezTo>
                        <a:pt x="298704" y="1810"/>
                        <a:pt x="302609" y="6858"/>
                        <a:pt x="302609" y="12859"/>
                      </a:cubicBezTo>
                      <a:lnTo>
                        <a:pt x="302609" y="17431"/>
                      </a:lnTo>
                      <a:cubicBezTo>
                        <a:pt x="302609" y="18002"/>
                        <a:pt x="302609" y="18574"/>
                        <a:pt x="302514" y="19145"/>
                      </a:cubicBezTo>
                      <a:lnTo>
                        <a:pt x="353473" y="19145"/>
                      </a:lnTo>
                      <a:lnTo>
                        <a:pt x="353473" y="438055"/>
                      </a:lnTo>
                      <a:lnTo>
                        <a:pt x="19145" y="438055"/>
                      </a:lnTo>
                      <a:lnTo>
                        <a:pt x="19145" y="19145"/>
                      </a:lnTo>
                      <a:lnTo>
                        <a:pt x="70104" y="19145"/>
                      </a:lnTo>
                      <a:cubicBezTo>
                        <a:pt x="70009" y="18574"/>
                        <a:pt x="70009" y="18002"/>
                        <a:pt x="70009" y="17431"/>
                      </a:cubicBezTo>
                      <a:lnTo>
                        <a:pt x="70009" y="12859"/>
                      </a:lnTo>
                      <a:cubicBezTo>
                        <a:pt x="70009" y="6858"/>
                        <a:pt x="73914" y="1810"/>
                        <a:pt x="79343" y="0"/>
                      </a:cubicBezTo>
                      <a:lnTo>
                        <a:pt x="12097" y="0"/>
                      </a:lnTo>
                      <a:cubicBezTo>
                        <a:pt x="5429" y="0"/>
                        <a:pt x="0" y="5429"/>
                        <a:pt x="0" y="12192"/>
                      </a:cubicBezTo>
                      <a:lnTo>
                        <a:pt x="0" y="445103"/>
                      </a:lnTo>
                      <a:cubicBezTo>
                        <a:pt x="0" y="451771"/>
                        <a:pt x="5429" y="457200"/>
                        <a:pt x="12097" y="457200"/>
                      </a:cubicBezTo>
                      <a:lnTo>
                        <a:pt x="360521" y="457200"/>
                      </a:lnTo>
                      <a:cubicBezTo>
                        <a:pt x="367189" y="457200"/>
                        <a:pt x="372618" y="451771"/>
                        <a:pt x="372618" y="445103"/>
                      </a:cubicBezTo>
                      <a:lnTo>
                        <a:pt x="372618" y="12192"/>
                      </a:lnTo>
                      <a:cubicBezTo>
                        <a:pt x="372618" y="5429"/>
                        <a:pt x="367189" y="0"/>
                        <a:pt x="360521" y="0"/>
                      </a:cubicBezTo>
                      <a:close/>
                    </a:path>
                  </a:pathLst>
                </a:custGeom>
                <a:grpFill/>
                <a:ln w="9525" cap="flat">
                  <a:noFill/>
                  <a:prstDash val="solid"/>
                  <a:miter/>
                </a:ln>
              </p:spPr>
              <p:txBody>
                <a:bodyPr rtlCol="0" anchor="ctr"/>
                <a:lstStyle/>
                <a:p>
                  <a:pPr algn="r" rtl="1"/>
                  <a:endParaRPr lang="en-US"/>
                </a:p>
              </p:txBody>
            </p:sp>
            <p:sp>
              <p:nvSpPr>
                <p:cNvPr id="217" name="Freeform: Shape 216">
                  <a:extLst>
                    <a:ext uri="{FF2B5EF4-FFF2-40B4-BE49-F238E27FC236}">
                      <a16:creationId xmlns:a16="http://schemas.microsoft.com/office/drawing/2014/main" id="{8759157A-4C00-4FBE-8222-1753C16B57DE}"/>
                    </a:ext>
                  </a:extLst>
                </p:cNvPr>
                <p:cNvSpPr/>
                <p:nvPr/>
              </p:nvSpPr>
              <p:spPr>
                <a:xfrm>
                  <a:off x="11508575" y="3243899"/>
                  <a:ext cx="213476" cy="59310"/>
                </a:xfrm>
                <a:custGeom>
                  <a:avLst/>
                  <a:gdLst>
                    <a:gd name="connsiteX0" fmla="*/ 4124 w 213476"/>
                    <a:gd name="connsiteY0" fmla="*/ 12850 h 59310"/>
                    <a:gd name="connsiteX1" fmla="*/ 7194 w 213476"/>
                    <a:gd name="connsiteY1" fmla="*/ 12850 h 59310"/>
                    <a:gd name="connsiteX2" fmla="*/ 7194 w 213476"/>
                    <a:gd name="connsiteY2" fmla="*/ 35243 h 59310"/>
                    <a:gd name="connsiteX3" fmla="*/ 18128 w 213476"/>
                    <a:gd name="connsiteY3" fmla="*/ 46176 h 59310"/>
                    <a:gd name="connsiteX4" fmla="*/ 75725 w 213476"/>
                    <a:gd name="connsiteY4" fmla="*/ 46176 h 59310"/>
                    <a:gd name="connsiteX5" fmla="*/ 92269 w 213476"/>
                    <a:gd name="connsiteY5" fmla="*/ 53711 h 59310"/>
                    <a:gd name="connsiteX6" fmla="*/ 121179 w 213476"/>
                    <a:gd name="connsiteY6" fmla="*/ 53771 h 59310"/>
                    <a:gd name="connsiteX7" fmla="*/ 137784 w 213476"/>
                    <a:gd name="connsiteY7" fmla="*/ 46175 h 59310"/>
                    <a:gd name="connsiteX8" fmla="*/ 195352 w 213476"/>
                    <a:gd name="connsiteY8" fmla="*/ 46175 h 59310"/>
                    <a:gd name="connsiteX9" fmla="*/ 206282 w 213476"/>
                    <a:gd name="connsiteY9" fmla="*/ 35242 h 59310"/>
                    <a:gd name="connsiteX10" fmla="*/ 206282 w 213476"/>
                    <a:gd name="connsiteY10" fmla="*/ 12850 h 59310"/>
                    <a:gd name="connsiteX11" fmla="*/ 209352 w 213476"/>
                    <a:gd name="connsiteY11" fmla="*/ 12850 h 59310"/>
                    <a:gd name="connsiteX12" fmla="*/ 213476 w 213476"/>
                    <a:gd name="connsiteY12" fmla="*/ 8727 h 59310"/>
                    <a:gd name="connsiteX13" fmla="*/ 213476 w 213476"/>
                    <a:gd name="connsiteY13" fmla="*/ 4123 h 59310"/>
                    <a:gd name="connsiteX14" fmla="*/ 209352 w 213476"/>
                    <a:gd name="connsiteY14" fmla="*/ 0 h 59310"/>
                    <a:gd name="connsiteX15" fmla="*/ 4124 w 213476"/>
                    <a:gd name="connsiteY15" fmla="*/ 0 h 59310"/>
                    <a:gd name="connsiteX16" fmla="*/ 0 w 213476"/>
                    <a:gd name="connsiteY16" fmla="*/ 4123 h 59310"/>
                    <a:gd name="connsiteX17" fmla="*/ 0 w 213476"/>
                    <a:gd name="connsiteY17" fmla="*/ 8727 h 59310"/>
                    <a:gd name="connsiteX18" fmla="*/ 4124 w 213476"/>
                    <a:gd name="connsiteY18" fmla="*/ 12850 h 59310"/>
                    <a:gd name="connsiteX19" fmla="*/ 11989 w 213476"/>
                    <a:gd name="connsiteY19" fmla="*/ 12850 h 59310"/>
                    <a:gd name="connsiteX20" fmla="*/ 201487 w 213476"/>
                    <a:gd name="connsiteY20" fmla="*/ 12850 h 59310"/>
                    <a:gd name="connsiteX21" fmla="*/ 201487 w 213476"/>
                    <a:gd name="connsiteY21" fmla="*/ 35243 h 59310"/>
                    <a:gd name="connsiteX22" fmla="*/ 195353 w 213476"/>
                    <a:gd name="connsiteY22" fmla="*/ 41381 h 59310"/>
                    <a:gd name="connsiteX23" fmla="*/ 137785 w 213476"/>
                    <a:gd name="connsiteY23" fmla="*/ 41381 h 59310"/>
                    <a:gd name="connsiteX24" fmla="*/ 117809 w 213476"/>
                    <a:gd name="connsiteY24" fmla="*/ 50362 h 59310"/>
                    <a:gd name="connsiteX25" fmla="*/ 95650 w 213476"/>
                    <a:gd name="connsiteY25" fmla="*/ 50311 h 59310"/>
                    <a:gd name="connsiteX26" fmla="*/ 75726 w 213476"/>
                    <a:gd name="connsiteY26" fmla="*/ 41381 h 59310"/>
                    <a:gd name="connsiteX27" fmla="*/ 18129 w 213476"/>
                    <a:gd name="connsiteY27" fmla="*/ 41381 h 59310"/>
                    <a:gd name="connsiteX28" fmla="*/ 11990 w 213476"/>
                    <a:gd name="connsiteY28" fmla="*/ 35243 h 59310"/>
                    <a:gd name="connsiteX29" fmla="*/ 11990 w 213476"/>
                    <a:gd name="connsiteY29" fmla="*/ 12850 h 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3476" h="59310">
                      <a:moveTo>
                        <a:pt x="4124" y="12850"/>
                      </a:moveTo>
                      <a:lnTo>
                        <a:pt x="7194" y="12850"/>
                      </a:lnTo>
                      <a:lnTo>
                        <a:pt x="7194" y="35243"/>
                      </a:lnTo>
                      <a:cubicBezTo>
                        <a:pt x="7194" y="41274"/>
                        <a:pt x="12097" y="46176"/>
                        <a:pt x="18128" y="46176"/>
                      </a:cubicBezTo>
                      <a:lnTo>
                        <a:pt x="75725" y="46176"/>
                      </a:lnTo>
                      <a:cubicBezTo>
                        <a:pt x="83137" y="46176"/>
                        <a:pt x="88813" y="50274"/>
                        <a:pt x="92269" y="53711"/>
                      </a:cubicBezTo>
                      <a:cubicBezTo>
                        <a:pt x="99820" y="61213"/>
                        <a:pt x="113742" y="61121"/>
                        <a:pt x="121179" y="53771"/>
                      </a:cubicBezTo>
                      <a:cubicBezTo>
                        <a:pt x="124681" y="50305"/>
                        <a:pt x="130409" y="46175"/>
                        <a:pt x="137784" y="46175"/>
                      </a:cubicBezTo>
                      <a:lnTo>
                        <a:pt x="195352" y="46175"/>
                      </a:lnTo>
                      <a:cubicBezTo>
                        <a:pt x="201379" y="46175"/>
                        <a:pt x="206282" y="41273"/>
                        <a:pt x="206282" y="35242"/>
                      </a:cubicBezTo>
                      <a:lnTo>
                        <a:pt x="206282" y="12850"/>
                      </a:lnTo>
                      <a:lnTo>
                        <a:pt x="209352" y="12850"/>
                      </a:lnTo>
                      <a:cubicBezTo>
                        <a:pt x="211653" y="12850"/>
                        <a:pt x="213476" y="11028"/>
                        <a:pt x="213476" y="8727"/>
                      </a:cubicBezTo>
                      <a:lnTo>
                        <a:pt x="213476" y="4123"/>
                      </a:lnTo>
                      <a:cubicBezTo>
                        <a:pt x="213476" y="1822"/>
                        <a:pt x="211654" y="0"/>
                        <a:pt x="209352" y="0"/>
                      </a:cubicBezTo>
                      <a:lnTo>
                        <a:pt x="4124" y="0"/>
                      </a:lnTo>
                      <a:cubicBezTo>
                        <a:pt x="1822" y="0"/>
                        <a:pt x="0" y="1822"/>
                        <a:pt x="0" y="4123"/>
                      </a:cubicBezTo>
                      <a:lnTo>
                        <a:pt x="0" y="8727"/>
                      </a:lnTo>
                      <a:cubicBezTo>
                        <a:pt x="0" y="11028"/>
                        <a:pt x="1822" y="12850"/>
                        <a:pt x="4124" y="12850"/>
                      </a:cubicBezTo>
                      <a:close/>
                      <a:moveTo>
                        <a:pt x="11989" y="12850"/>
                      </a:moveTo>
                      <a:lnTo>
                        <a:pt x="201487" y="12850"/>
                      </a:lnTo>
                      <a:lnTo>
                        <a:pt x="201487" y="35243"/>
                      </a:lnTo>
                      <a:cubicBezTo>
                        <a:pt x="201487" y="38629"/>
                        <a:pt x="198733" y="41381"/>
                        <a:pt x="195353" y="41381"/>
                      </a:cubicBezTo>
                      <a:lnTo>
                        <a:pt x="137785" y="41381"/>
                      </a:lnTo>
                      <a:cubicBezTo>
                        <a:pt x="130658" y="41381"/>
                        <a:pt x="123751" y="44486"/>
                        <a:pt x="117809" y="50362"/>
                      </a:cubicBezTo>
                      <a:cubicBezTo>
                        <a:pt x="112462" y="55644"/>
                        <a:pt x="101026" y="55658"/>
                        <a:pt x="95650" y="50311"/>
                      </a:cubicBezTo>
                      <a:cubicBezTo>
                        <a:pt x="89774" y="44467"/>
                        <a:pt x="82886" y="41381"/>
                        <a:pt x="75726" y="41381"/>
                      </a:cubicBezTo>
                      <a:lnTo>
                        <a:pt x="18129" y="41381"/>
                      </a:lnTo>
                      <a:cubicBezTo>
                        <a:pt x="14743" y="41381"/>
                        <a:pt x="11990" y="38628"/>
                        <a:pt x="11990" y="35243"/>
                      </a:cubicBezTo>
                      <a:lnTo>
                        <a:pt x="11990" y="12850"/>
                      </a:lnTo>
                      <a:close/>
                    </a:path>
                  </a:pathLst>
                </a:custGeom>
                <a:grpFill/>
                <a:ln w="9525" cap="flat">
                  <a:noFill/>
                  <a:prstDash val="solid"/>
                  <a:miter/>
                </a:ln>
              </p:spPr>
              <p:txBody>
                <a:bodyPr rtlCol="0" anchor="ctr"/>
                <a:lstStyle/>
                <a:p>
                  <a:pPr algn="r" rtl="1"/>
                  <a:endParaRPr lang="en-US"/>
                </a:p>
              </p:txBody>
            </p:sp>
            <p:sp>
              <p:nvSpPr>
                <p:cNvPr id="218" name="Freeform: Shape 217">
                  <a:extLst>
                    <a:ext uri="{FF2B5EF4-FFF2-40B4-BE49-F238E27FC236}">
                      <a16:creationId xmlns:a16="http://schemas.microsoft.com/office/drawing/2014/main" id="{9C35A56B-A69F-41FF-BDBA-215E6CB7CFF4}"/>
                    </a:ext>
                  </a:extLst>
                </p:cNvPr>
                <p:cNvSpPr/>
                <p:nvPr/>
              </p:nvSpPr>
              <p:spPr>
                <a:xfrm>
                  <a:off x="11727190" y="3414932"/>
                  <a:ext cx="39688" cy="30899"/>
                </a:xfrm>
                <a:custGeom>
                  <a:avLst/>
                  <a:gdLst>
                    <a:gd name="connsiteX0" fmla="*/ 0 w 39688"/>
                    <a:gd name="connsiteY0" fmla="*/ 0 h 30899"/>
                    <a:gd name="connsiteX1" fmla="*/ 24804 w 39688"/>
                    <a:gd name="connsiteY1" fmla="*/ 30899 h 30899"/>
                    <a:gd name="connsiteX2" fmla="*/ 39689 w 39688"/>
                    <a:gd name="connsiteY2" fmla="*/ 0 h 30899"/>
                    <a:gd name="connsiteX3" fmla="*/ 0 w 39688"/>
                    <a:gd name="connsiteY3" fmla="*/ 0 h 30899"/>
                  </a:gdLst>
                  <a:ahLst/>
                  <a:cxnLst>
                    <a:cxn ang="0">
                      <a:pos x="connsiteX0" y="connsiteY0"/>
                    </a:cxn>
                    <a:cxn ang="0">
                      <a:pos x="connsiteX1" y="connsiteY1"/>
                    </a:cxn>
                    <a:cxn ang="0">
                      <a:pos x="connsiteX2" y="connsiteY2"/>
                    </a:cxn>
                    <a:cxn ang="0">
                      <a:pos x="connsiteX3" y="connsiteY3"/>
                    </a:cxn>
                  </a:cxnLst>
                  <a:rect l="l" t="t" r="r" b="b"/>
                  <a:pathLst>
                    <a:path w="39688" h="30899">
                      <a:moveTo>
                        <a:pt x="0" y="0"/>
                      </a:moveTo>
                      <a:lnTo>
                        <a:pt x="24804" y="30899"/>
                      </a:lnTo>
                      <a:cubicBezTo>
                        <a:pt x="33314" y="22634"/>
                        <a:pt x="38516" y="12069"/>
                        <a:pt x="39689" y="0"/>
                      </a:cubicBezTo>
                      <a:lnTo>
                        <a:pt x="0" y="0"/>
                      </a:lnTo>
                      <a:close/>
                    </a:path>
                  </a:pathLst>
                </a:custGeom>
                <a:grpFill/>
                <a:ln w="9525" cap="flat">
                  <a:noFill/>
                  <a:prstDash val="solid"/>
                  <a:miter/>
                </a:ln>
              </p:spPr>
              <p:txBody>
                <a:bodyPr rtlCol="0" anchor="ctr"/>
                <a:lstStyle/>
                <a:p>
                  <a:pPr algn="r" rtl="1"/>
                  <a:endParaRPr lang="en-US"/>
                </a:p>
              </p:txBody>
            </p:sp>
            <p:sp>
              <p:nvSpPr>
                <p:cNvPr id="220" name="Freeform: Shape 219">
                  <a:extLst>
                    <a:ext uri="{FF2B5EF4-FFF2-40B4-BE49-F238E27FC236}">
                      <a16:creationId xmlns:a16="http://schemas.microsoft.com/office/drawing/2014/main" id="{52C290E3-E67A-4957-8EEC-1EA5EC342C4D}"/>
                    </a:ext>
                  </a:extLst>
                </p:cNvPr>
                <p:cNvSpPr/>
                <p:nvPr/>
              </p:nvSpPr>
              <p:spPr>
                <a:xfrm>
                  <a:off x="11667760" y="3414932"/>
                  <a:ext cx="76725" cy="45122"/>
                </a:xfrm>
                <a:custGeom>
                  <a:avLst/>
                  <a:gdLst>
                    <a:gd name="connsiteX0" fmla="*/ 49403 w 76725"/>
                    <a:gd name="connsiteY0" fmla="*/ 45123 h 45122"/>
                    <a:gd name="connsiteX1" fmla="*/ 76726 w 76725"/>
                    <a:gd name="connsiteY1" fmla="*/ 36763 h 45122"/>
                    <a:gd name="connsiteX2" fmla="*/ 47217 w 76725"/>
                    <a:gd name="connsiteY2" fmla="*/ 0 h 45122"/>
                    <a:gd name="connsiteX3" fmla="*/ 44739 w 76725"/>
                    <a:gd name="connsiteY3" fmla="*/ 0 h 45122"/>
                    <a:gd name="connsiteX4" fmla="*/ 0 w 76725"/>
                    <a:gd name="connsiteY4" fmla="*/ 0 h 45122"/>
                    <a:gd name="connsiteX5" fmla="*/ 49403 w 76725"/>
                    <a:gd name="connsiteY5" fmla="*/ 45123 h 4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25" h="45122">
                      <a:moveTo>
                        <a:pt x="49403" y="45123"/>
                      </a:moveTo>
                      <a:cubicBezTo>
                        <a:pt x="58680" y="45123"/>
                        <a:pt x="67909" y="42569"/>
                        <a:pt x="76726" y="36763"/>
                      </a:cubicBezTo>
                      <a:lnTo>
                        <a:pt x="47217" y="0"/>
                      </a:lnTo>
                      <a:lnTo>
                        <a:pt x="44739" y="0"/>
                      </a:lnTo>
                      <a:lnTo>
                        <a:pt x="0" y="0"/>
                      </a:lnTo>
                      <a:cubicBezTo>
                        <a:pt x="2597" y="26799"/>
                        <a:pt x="25311" y="45123"/>
                        <a:pt x="49403" y="45123"/>
                      </a:cubicBezTo>
                      <a:close/>
                    </a:path>
                  </a:pathLst>
                </a:custGeom>
                <a:grpFill/>
                <a:ln w="9525" cap="flat">
                  <a:noFill/>
                  <a:prstDash val="solid"/>
                  <a:miter/>
                </a:ln>
              </p:spPr>
              <p:txBody>
                <a:bodyPr rtlCol="0" anchor="ctr"/>
                <a:lstStyle/>
                <a:p>
                  <a:pPr algn="r" rtl="1"/>
                  <a:endParaRPr lang="en-US"/>
                </a:p>
              </p:txBody>
            </p:sp>
            <p:sp>
              <p:nvSpPr>
                <p:cNvPr id="221" name="Freeform: Shape 220">
                  <a:extLst>
                    <a:ext uri="{FF2B5EF4-FFF2-40B4-BE49-F238E27FC236}">
                      <a16:creationId xmlns:a16="http://schemas.microsoft.com/office/drawing/2014/main" id="{9B0D916F-7FAB-45C8-9174-FE630A30EA39}"/>
                    </a:ext>
                  </a:extLst>
                </p:cNvPr>
                <p:cNvSpPr/>
                <p:nvPr/>
              </p:nvSpPr>
              <p:spPr>
                <a:xfrm>
                  <a:off x="11722023" y="3360775"/>
                  <a:ext cx="44639" cy="44631"/>
                </a:xfrm>
                <a:custGeom>
                  <a:avLst/>
                  <a:gdLst>
                    <a:gd name="connsiteX0" fmla="*/ 0 w 44639"/>
                    <a:gd name="connsiteY0" fmla="*/ 0 h 44631"/>
                    <a:gd name="connsiteX1" fmla="*/ 0 w 44639"/>
                    <a:gd name="connsiteY1" fmla="*/ 44631 h 44631"/>
                    <a:gd name="connsiteX2" fmla="*/ 44640 w 44639"/>
                    <a:gd name="connsiteY2" fmla="*/ 44631 h 44631"/>
                    <a:gd name="connsiteX3" fmla="*/ 0 w 44639"/>
                    <a:gd name="connsiteY3" fmla="*/ 0 h 44631"/>
                  </a:gdLst>
                  <a:ahLst/>
                  <a:cxnLst>
                    <a:cxn ang="0">
                      <a:pos x="connsiteX0" y="connsiteY0"/>
                    </a:cxn>
                    <a:cxn ang="0">
                      <a:pos x="connsiteX1" y="connsiteY1"/>
                    </a:cxn>
                    <a:cxn ang="0">
                      <a:pos x="connsiteX2" y="connsiteY2"/>
                    </a:cxn>
                    <a:cxn ang="0">
                      <a:pos x="connsiteX3" y="connsiteY3"/>
                    </a:cxn>
                  </a:cxnLst>
                  <a:rect l="l" t="t" r="r" b="b"/>
                  <a:pathLst>
                    <a:path w="44639" h="44631">
                      <a:moveTo>
                        <a:pt x="0" y="0"/>
                      </a:moveTo>
                      <a:lnTo>
                        <a:pt x="0" y="44631"/>
                      </a:lnTo>
                      <a:lnTo>
                        <a:pt x="44640" y="44631"/>
                      </a:lnTo>
                      <a:cubicBezTo>
                        <a:pt x="42344" y="21038"/>
                        <a:pt x="24495" y="2444"/>
                        <a:pt x="0" y="0"/>
                      </a:cubicBezTo>
                      <a:close/>
                    </a:path>
                  </a:pathLst>
                </a:custGeom>
                <a:grpFill/>
                <a:ln w="9525" cap="flat">
                  <a:noFill/>
                  <a:prstDash val="solid"/>
                  <a:miter/>
                </a:ln>
              </p:spPr>
              <p:txBody>
                <a:bodyPr rtlCol="0" anchor="ctr"/>
                <a:lstStyle/>
                <a:p>
                  <a:pPr algn="r" rtl="1"/>
                  <a:endParaRPr lang="en-US"/>
                </a:p>
              </p:txBody>
            </p:sp>
            <p:sp>
              <p:nvSpPr>
                <p:cNvPr id="223" name="Freeform: Shape 222">
                  <a:extLst>
                    <a:ext uri="{FF2B5EF4-FFF2-40B4-BE49-F238E27FC236}">
                      <a16:creationId xmlns:a16="http://schemas.microsoft.com/office/drawing/2014/main" id="{6835EFEE-ACBD-4A19-8700-373296918343}"/>
                    </a:ext>
                  </a:extLst>
                </p:cNvPr>
                <p:cNvSpPr/>
                <p:nvPr/>
              </p:nvSpPr>
              <p:spPr>
                <a:xfrm>
                  <a:off x="11667759" y="3360758"/>
                  <a:ext cx="44738" cy="44648"/>
                </a:xfrm>
                <a:custGeom>
                  <a:avLst/>
                  <a:gdLst>
                    <a:gd name="connsiteX0" fmla="*/ 44739 w 44738"/>
                    <a:gd name="connsiteY0" fmla="*/ 0 h 44648"/>
                    <a:gd name="connsiteX1" fmla="*/ 0 w 44738"/>
                    <a:gd name="connsiteY1" fmla="*/ 44648 h 44648"/>
                    <a:gd name="connsiteX2" fmla="*/ 39572 w 44738"/>
                    <a:gd name="connsiteY2" fmla="*/ 44648 h 44648"/>
                    <a:gd name="connsiteX3" fmla="*/ 44739 w 44738"/>
                    <a:gd name="connsiteY3" fmla="*/ 44648 h 44648"/>
                    <a:gd name="connsiteX4" fmla="*/ 44739 w 44738"/>
                    <a:gd name="connsiteY4" fmla="*/ 0 h 44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38" h="44648">
                      <a:moveTo>
                        <a:pt x="44739" y="0"/>
                      </a:moveTo>
                      <a:cubicBezTo>
                        <a:pt x="21006" y="2274"/>
                        <a:pt x="2288" y="20981"/>
                        <a:pt x="0" y="44648"/>
                      </a:cubicBezTo>
                      <a:lnTo>
                        <a:pt x="39572" y="44648"/>
                      </a:lnTo>
                      <a:lnTo>
                        <a:pt x="44739" y="44648"/>
                      </a:lnTo>
                      <a:lnTo>
                        <a:pt x="44739" y="0"/>
                      </a:lnTo>
                      <a:close/>
                    </a:path>
                  </a:pathLst>
                </a:custGeom>
                <a:grpFill/>
                <a:ln w="9525" cap="flat">
                  <a:noFill/>
                  <a:prstDash val="solid"/>
                  <a:miter/>
                </a:ln>
              </p:spPr>
              <p:txBody>
                <a:bodyPr rtlCol="0" anchor="ctr"/>
                <a:lstStyle/>
                <a:p>
                  <a:pPr algn="r" rtl="1"/>
                  <a:endParaRPr lang="en-US"/>
                </a:p>
              </p:txBody>
            </p:sp>
            <p:sp>
              <p:nvSpPr>
                <p:cNvPr id="224" name="Freeform: Shape 223">
                  <a:extLst>
                    <a:ext uri="{FF2B5EF4-FFF2-40B4-BE49-F238E27FC236}">
                      <a16:creationId xmlns:a16="http://schemas.microsoft.com/office/drawing/2014/main" id="{F9C49EF9-CE4F-4641-B04D-3BCB062AECDB}"/>
                    </a:ext>
                  </a:extLst>
                </p:cNvPr>
                <p:cNvSpPr/>
                <p:nvPr/>
              </p:nvSpPr>
              <p:spPr>
                <a:xfrm>
                  <a:off x="11721925" y="3569736"/>
                  <a:ext cx="44840" cy="44650"/>
                </a:xfrm>
                <a:custGeom>
                  <a:avLst/>
                  <a:gdLst>
                    <a:gd name="connsiteX0" fmla="*/ 44739 w 44840"/>
                    <a:gd name="connsiteY0" fmla="*/ 0 h 44650"/>
                    <a:gd name="connsiteX1" fmla="*/ 0 w 44840"/>
                    <a:gd name="connsiteY1" fmla="*/ 0 h 44650"/>
                    <a:gd name="connsiteX2" fmla="*/ 0 w 44840"/>
                    <a:gd name="connsiteY2" fmla="*/ 44650 h 44650"/>
                    <a:gd name="connsiteX3" fmla="*/ 44739 w 44840"/>
                    <a:gd name="connsiteY3" fmla="*/ 0 h 44650"/>
                  </a:gdLst>
                  <a:ahLst/>
                  <a:cxnLst>
                    <a:cxn ang="0">
                      <a:pos x="connsiteX0" y="connsiteY0"/>
                    </a:cxn>
                    <a:cxn ang="0">
                      <a:pos x="connsiteX1" y="connsiteY1"/>
                    </a:cxn>
                    <a:cxn ang="0">
                      <a:pos x="connsiteX2" y="connsiteY2"/>
                    </a:cxn>
                    <a:cxn ang="0">
                      <a:pos x="connsiteX3" y="connsiteY3"/>
                    </a:cxn>
                  </a:cxnLst>
                  <a:rect l="l" t="t" r="r" b="b"/>
                  <a:pathLst>
                    <a:path w="44840" h="44650">
                      <a:moveTo>
                        <a:pt x="44739" y="0"/>
                      </a:moveTo>
                      <a:cubicBezTo>
                        <a:pt x="47279" y="0"/>
                        <a:pt x="1443" y="0"/>
                        <a:pt x="0" y="0"/>
                      </a:cubicBezTo>
                      <a:lnTo>
                        <a:pt x="0" y="44650"/>
                      </a:lnTo>
                      <a:cubicBezTo>
                        <a:pt x="23702" y="42408"/>
                        <a:pt x="42450" y="23687"/>
                        <a:pt x="44739" y="0"/>
                      </a:cubicBezTo>
                      <a:close/>
                    </a:path>
                  </a:pathLst>
                </a:custGeom>
                <a:grpFill/>
                <a:ln w="9525" cap="flat">
                  <a:noFill/>
                  <a:prstDash val="solid"/>
                  <a:miter/>
                </a:ln>
              </p:spPr>
              <p:txBody>
                <a:bodyPr rtlCol="0" anchor="ctr"/>
                <a:lstStyle/>
                <a:p>
                  <a:pPr algn="r" rtl="1"/>
                  <a:endParaRPr lang="en-US"/>
                </a:p>
              </p:txBody>
            </p:sp>
            <p:sp>
              <p:nvSpPr>
                <p:cNvPr id="226" name="Freeform: Shape 225">
                  <a:extLst>
                    <a:ext uri="{FF2B5EF4-FFF2-40B4-BE49-F238E27FC236}">
                      <a16:creationId xmlns:a16="http://schemas.microsoft.com/office/drawing/2014/main" id="{CE8D84DE-E064-478E-A217-69C1EB1CD63F}"/>
                    </a:ext>
                  </a:extLst>
                </p:cNvPr>
                <p:cNvSpPr/>
                <p:nvPr/>
              </p:nvSpPr>
              <p:spPr>
                <a:xfrm>
                  <a:off x="11689941" y="3515165"/>
                  <a:ext cx="76722" cy="45045"/>
                </a:xfrm>
                <a:custGeom>
                  <a:avLst/>
                  <a:gdLst>
                    <a:gd name="connsiteX0" fmla="*/ 0 w 76722"/>
                    <a:gd name="connsiteY0" fmla="*/ 8277 h 45045"/>
                    <a:gd name="connsiteX1" fmla="*/ 29508 w 76722"/>
                    <a:gd name="connsiteY1" fmla="*/ 45045 h 45045"/>
                    <a:gd name="connsiteX2" fmla="*/ 76723 w 76722"/>
                    <a:gd name="connsiteY2" fmla="*/ 45045 h 45045"/>
                    <a:gd name="connsiteX3" fmla="*/ 0 w 76722"/>
                    <a:gd name="connsiteY3" fmla="*/ 8277 h 45045"/>
                  </a:gdLst>
                  <a:ahLst/>
                  <a:cxnLst>
                    <a:cxn ang="0">
                      <a:pos x="connsiteX0" y="connsiteY0"/>
                    </a:cxn>
                    <a:cxn ang="0">
                      <a:pos x="connsiteX1" y="connsiteY1"/>
                    </a:cxn>
                    <a:cxn ang="0">
                      <a:pos x="connsiteX2" y="connsiteY2"/>
                    </a:cxn>
                    <a:cxn ang="0">
                      <a:pos x="connsiteX3" y="connsiteY3"/>
                    </a:cxn>
                  </a:cxnLst>
                  <a:rect l="l" t="t" r="r" b="b"/>
                  <a:pathLst>
                    <a:path w="76722" h="45045">
                      <a:moveTo>
                        <a:pt x="0" y="8277"/>
                      </a:moveTo>
                      <a:lnTo>
                        <a:pt x="29508" y="45045"/>
                      </a:lnTo>
                      <a:cubicBezTo>
                        <a:pt x="28144" y="45045"/>
                        <a:pt x="75148" y="45045"/>
                        <a:pt x="76723" y="45045"/>
                      </a:cubicBezTo>
                      <a:cubicBezTo>
                        <a:pt x="73064" y="7304"/>
                        <a:pt x="31092" y="-12204"/>
                        <a:pt x="0" y="8277"/>
                      </a:cubicBezTo>
                      <a:close/>
                    </a:path>
                  </a:pathLst>
                </a:custGeom>
                <a:grpFill/>
                <a:ln w="9525" cap="flat">
                  <a:noFill/>
                  <a:prstDash val="solid"/>
                  <a:miter/>
                </a:ln>
              </p:spPr>
              <p:txBody>
                <a:bodyPr rtlCol="0" anchor="ctr"/>
                <a:lstStyle/>
                <a:p>
                  <a:pPr algn="r" rtl="1"/>
                  <a:endParaRPr lang="en-US"/>
                </a:p>
              </p:txBody>
            </p:sp>
            <p:sp>
              <p:nvSpPr>
                <p:cNvPr id="229" name="Freeform: Shape 228">
                  <a:extLst>
                    <a:ext uri="{FF2B5EF4-FFF2-40B4-BE49-F238E27FC236}">
                      <a16:creationId xmlns:a16="http://schemas.microsoft.com/office/drawing/2014/main" id="{C2EC8110-C8D2-4636-A085-59AA6C8CB820}"/>
                    </a:ext>
                  </a:extLst>
                </p:cNvPr>
                <p:cNvSpPr/>
                <p:nvPr/>
              </p:nvSpPr>
              <p:spPr>
                <a:xfrm>
                  <a:off x="11667545" y="3529307"/>
                  <a:ext cx="39687" cy="30903"/>
                </a:xfrm>
                <a:custGeom>
                  <a:avLst/>
                  <a:gdLst>
                    <a:gd name="connsiteX0" fmla="*/ 0 w 39687"/>
                    <a:gd name="connsiteY0" fmla="*/ 30904 h 30903"/>
                    <a:gd name="connsiteX1" fmla="*/ 39688 w 39687"/>
                    <a:gd name="connsiteY1" fmla="*/ 30904 h 30903"/>
                    <a:gd name="connsiteX2" fmla="*/ 14884 w 39687"/>
                    <a:gd name="connsiteY2" fmla="*/ 0 h 30903"/>
                    <a:gd name="connsiteX3" fmla="*/ 16 w 39687"/>
                    <a:gd name="connsiteY3" fmla="*/ 30597 h 30903"/>
                    <a:gd name="connsiteX4" fmla="*/ 0 w 39687"/>
                    <a:gd name="connsiteY4" fmla="*/ 30904 h 30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87" h="30903">
                      <a:moveTo>
                        <a:pt x="0" y="30904"/>
                      </a:moveTo>
                      <a:lnTo>
                        <a:pt x="39688" y="30904"/>
                      </a:lnTo>
                      <a:lnTo>
                        <a:pt x="14884" y="0"/>
                      </a:lnTo>
                      <a:cubicBezTo>
                        <a:pt x="6097" y="8533"/>
                        <a:pt x="1169" y="19280"/>
                        <a:pt x="16" y="30597"/>
                      </a:cubicBezTo>
                      <a:cubicBezTo>
                        <a:pt x="8" y="30698"/>
                        <a:pt x="10" y="30802"/>
                        <a:pt x="0" y="30904"/>
                      </a:cubicBezTo>
                      <a:close/>
                    </a:path>
                  </a:pathLst>
                </a:custGeom>
                <a:grpFill/>
                <a:ln w="9525" cap="flat">
                  <a:noFill/>
                  <a:prstDash val="solid"/>
                  <a:miter/>
                </a:ln>
              </p:spPr>
              <p:txBody>
                <a:bodyPr rtlCol="0" anchor="ctr"/>
                <a:lstStyle/>
                <a:p>
                  <a:pPr algn="r" rtl="1"/>
                  <a:endParaRPr lang="en-US"/>
                </a:p>
              </p:txBody>
            </p:sp>
            <p:sp>
              <p:nvSpPr>
                <p:cNvPr id="231" name="Freeform: Shape 230">
                  <a:extLst>
                    <a:ext uri="{FF2B5EF4-FFF2-40B4-BE49-F238E27FC236}">
                      <a16:creationId xmlns:a16="http://schemas.microsoft.com/office/drawing/2014/main" id="{50392DC6-F6A2-4C81-A11E-D7D0CD2F9B07}"/>
                    </a:ext>
                  </a:extLst>
                </p:cNvPr>
                <p:cNvSpPr/>
                <p:nvPr/>
              </p:nvSpPr>
              <p:spPr>
                <a:xfrm>
                  <a:off x="11667761" y="3569736"/>
                  <a:ext cx="44639" cy="44626"/>
                </a:xfrm>
                <a:custGeom>
                  <a:avLst/>
                  <a:gdLst>
                    <a:gd name="connsiteX0" fmla="*/ 44640 w 44639"/>
                    <a:gd name="connsiteY0" fmla="*/ 44627 h 44626"/>
                    <a:gd name="connsiteX1" fmla="*/ 44640 w 44639"/>
                    <a:gd name="connsiteY1" fmla="*/ 0 h 44626"/>
                    <a:gd name="connsiteX2" fmla="*/ 0 w 44639"/>
                    <a:gd name="connsiteY2" fmla="*/ 0 h 44626"/>
                    <a:gd name="connsiteX3" fmla="*/ 44640 w 44639"/>
                    <a:gd name="connsiteY3" fmla="*/ 44627 h 44626"/>
                  </a:gdLst>
                  <a:ahLst/>
                  <a:cxnLst>
                    <a:cxn ang="0">
                      <a:pos x="connsiteX0" y="connsiteY0"/>
                    </a:cxn>
                    <a:cxn ang="0">
                      <a:pos x="connsiteX1" y="connsiteY1"/>
                    </a:cxn>
                    <a:cxn ang="0">
                      <a:pos x="connsiteX2" y="connsiteY2"/>
                    </a:cxn>
                    <a:cxn ang="0">
                      <a:pos x="connsiteX3" y="connsiteY3"/>
                    </a:cxn>
                  </a:cxnLst>
                  <a:rect l="l" t="t" r="r" b="b"/>
                  <a:pathLst>
                    <a:path w="44639" h="44626">
                      <a:moveTo>
                        <a:pt x="44640" y="44627"/>
                      </a:moveTo>
                      <a:lnTo>
                        <a:pt x="44640" y="0"/>
                      </a:lnTo>
                      <a:lnTo>
                        <a:pt x="0" y="0"/>
                      </a:lnTo>
                      <a:cubicBezTo>
                        <a:pt x="2224" y="22836"/>
                        <a:pt x="19384" y="42104"/>
                        <a:pt x="44640" y="44627"/>
                      </a:cubicBezTo>
                      <a:close/>
                    </a:path>
                  </a:pathLst>
                </a:custGeom>
                <a:grpFill/>
                <a:ln w="9525" cap="flat">
                  <a:noFill/>
                  <a:prstDash val="solid"/>
                  <a:miter/>
                </a:ln>
              </p:spPr>
              <p:txBody>
                <a:bodyPr rtlCol="0" anchor="ctr"/>
                <a:lstStyle/>
                <a:p>
                  <a:pPr algn="r" rtl="1"/>
                  <a:endParaRPr lang="en-US"/>
                </a:p>
              </p:txBody>
            </p:sp>
            <p:sp>
              <p:nvSpPr>
                <p:cNvPr id="232" name="Freeform: Shape 231">
                  <a:extLst>
                    <a:ext uri="{FF2B5EF4-FFF2-40B4-BE49-F238E27FC236}">
                      <a16:creationId xmlns:a16="http://schemas.microsoft.com/office/drawing/2014/main" id="{2FD91CA0-45C9-442E-AA94-B495F0D92B1D}"/>
                    </a:ext>
                  </a:extLst>
                </p:cNvPr>
                <p:cNvSpPr/>
                <p:nvPr/>
              </p:nvSpPr>
              <p:spPr>
                <a:xfrm>
                  <a:off x="11458719" y="3608925"/>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sp>
              <p:nvSpPr>
                <p:cNvPr id="234" name="Freeform: Shape 233">
                  <a:extLst>
                    <a:ext uri="{FF2B5EF4-FFF2-40B4-BE49-F238E27FC236}">
                      <a16:creationId xmlns:a16="http://schemas.microsoft.com/office/drawing/2014/main" id="{D1CF1AB8-1DC5-4EE0-893D-9C6335EA88E0}"/>
                    </a:ext>
                  </a:extLst>
                </p:cNvPr>
                <p:cNvSpPr/>
                <p:nvPr/>
              </p:nvSpPr>
              <p:spPr>
                <a:xfrm>
                  <a:off x="11458719" y="3584567"/>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sp>
              <p:nvSpPr>
                <p:cNvPr id="237" name="Freeform: Shape 236">
                  <a:extLst>
                    <a:ext uri="{FF2B5EF4-FFF2-40B4-BE49-F238E27FC236}">
                      <a16:creationId xmlns:a16="http://schemas.microsoft.com/office/drawing/2014/main" id="{942336A0-7FAC-484E-886C-609B35A7DE7D}"/>
                    </a:ext>
                  </a:extLst>
                </p:cNvPr>
                <p:cNvSpPr/>
                <p:nvPr/>
              </p:nvSpPr>
              <p:spPr>
                <a:xfrm>
                  <a:off x="11458719" y="3560211"/>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sp>
              <p:nvSpPr>
                <p:cNvPr id="238" name="Freeform: Shape 237">
                  <a:extLst>
                    <a:ext uri="{FF2B5EF4-FFF2-40B4-BE49-F238E27FC236}">
                      <a16:creationId xmlns:a16="http://schemas.microsoft.com/office/drawing/2014/main" id="{8BB4A40F-DC61-4DCC-83DC-84DE99F742E1}"/>
                    </a:ext>
                  </a:extLst>
                </p:cNvPr>
                <p:cNvSpPr/>
                <p:nvPr/>
              </p:nvSpPr>
              <p:spPr>
                <a:xfrm>
                  <a:off x="11458719" y="3535850"/>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sp>
              <p:nvSpPr>
                <p:cNvPr id="239" name="Freeform: Shape 238">
                  <a:extLst>
                    <a:ext uri="{FF2B5EF4-FFF2-40B4-BE49-F238E27FC236}">
                      <a16:creationId xmlns:a16="http://schemas.microsoft.com/office/drawing/2014/main" id="{2B83C14B-A775-456A-946B-353F6FAD02DF}"/>
                    </a:ext>
                  </a:extLst>
                </p:cNvPr>
                <p:cNvSpPr/>
                <p:nvPr/>
              </p:nvSpPr>
              <p:spPr>
                <a:xfrm>
                  <a:off x="11458719" y="3511493"/>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sp>
              <p:nvSpPr>
                <p:cNvPr id="241" name="Freeform: Shape 240">
                  <a:extLst>
                    <a:ext uri="{FF2B5EF4-FFF2-40B4-BE49-F238E27FC236}">
                      <a16:creationId xmlns:a16="http://schemas.microsoft.com/office/drawing/2014/main" id="{608BFBEB-9A20-4531-86BE-E8DD645F72C8}"/>
                    </a:ext>
                  </a:extLst>
                </p:cNvPr>
                <p:cNvSpPr/>
                <p:nvPr/>
              </p:nvSpPr>
              <p:spPr>
                <a:xfrm>
                  <a:off x="11458719" y="3454119"/>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sp>
              <p:nvSpPr>
                <p:cNvPr id="242" name="Freeform: Shape 241">
                  <a:extLst>
                    <a:ext uri="{FF2B5EF4-FFF2-40B4-BE49-F238E27FC236}">
                      <a16:creationId xmlns:a16="http://schemas.microsoft.com/office/drawing/2014/main" id="{3B70580E-9081-4BF4-A90F-C0279CCF3A0B}"/>
                    </a:ext>
                  </a:extLst>
                </p:cNvPr>
                <p:cNvSpPr/>
                <p:nvPr/>
              </p:nvSpPr>
              <p:spPr>
                <a:xfrm>
                  <a:off x="11458719" y="3429763"/>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sp>
              <p:nvSpPr>
                <p:cNvPr id="248" name="Freeform: Shape 247">
                  <a:extLst>
                    <a:ext uri="{FF2B5EF4-FFF2-40B4-BE49-F238E27FC236}">
                      <a16:creationId xmlns:a16="http://schemas.microsoft.com/office/drawing/2014/main" id="{C714CCB2-2190-4201-8FA8-8D15F593FAFE}"/>
                    </a:ext>
                  </a:extLst>
                </p:cNvPr>
                <p:cNvSpPr/>
                <p:nvPr/>
              </p:nvSpPr>
              <p:spPr>
                <a:xfrm>
                  <a:off x="11458719" y="3405407"/>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sp>
              <p:nvSpPr>
                <p:cNvPr id="249" name="Freeform: Shape 248">
                  <a:extLst>
                    <a:ext uri="{FF2B5EF4-FFF2-40B4-BE49-F238E27FC236}">
                      <a16:creationId xmlns:a16="http://schemas.microsoft.com/office/drawing/2014/main" id="{1CCD48B3-A8F6-47A7-B6ED-3DB9EA964DE8}"/>
                    </a:ext>
                  </a:extLst>
                </p:cNvPr>
                <p:cNvSpPr/>
                <p:nvPr/>
              </p:nvSpPr>
              <p:spPr>
                <a:xfrm>
                  <a:off x="11458719" y="3381049"/>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sp>
              <p:nvSpPr>
                <p:cNvPr id="252" name="Freeform: Shape 251">
                  <a:extLst>
                    <a:ext uri="{FF2B5EF4-FFF2-40B4-BE49-F238E27FC236}">
                      <a16:creationId xmlns:a16="http://schemas.microsoft.com/office/drawing/2014/main" id="{BC794CA9-8B32-40E3-AA27-121A886384BA}"/>
                    </a:ext>
                  </a:extLst>
                </p:cNvPr>
                <p:cNvSpPr/>
                <p:nvPr/>
              </p:nvSpPr>
              <p:spPr>
                <a:xfrm>
                  <a:off x="11458719" y="3356688"/>
                  <a:ext cx="184472" cy="9525"/>
                </a:xfrm>
                <a:custGeom>
                  <a:avLst/>
                  <a:gdLst>
                    <a:gd name="connsiteX0" fmla="*/ 0 w 184472"/>
                    <a:gd name="connsiteY0" fmla="*/ 0 h 9525"/>
                    <a:gd name="connsiteX1" fmla="*/ 184473 w 184472"/>
                    <a:gd name="connsiteY1" fmla="*/ 0 h 9525"/>
                    <a:gd name="connsiteX2" fmla="*/ 184473 w 184472"/>
                    <a:gd name="connsiteY2" fmla="*/ 9525 h 9525"/>
                    <a:gd name="connsiteX3" fmla="*/ 0 w 184472"/>
                    <a:gd name="connsiteY3" fmla="*/ 9525 h 9525"/>
                  </a:gdLst>
                  <a:ahLst/>
                  <a:cxnLst>
                    <a:cxn ang="0">
                      <a:pos x="connsiteX0" y="connsiteY0"/>
                    </a:cxn>
                    <a:cxn ang="0">
                      <a:pos x="connsiteX1" y="connsiteY1"/>
                    </a:cxn>
                    <a:cxn ang="0">
                      <a:pos x="connsiteX2" y="connsiteY2"/>
                    </a:cxn>
                    <a:cxn ang="0">
                      <a:pos x="connsiteX3" y="connsiteY3"/>
                    </a:cxn>
                  </a:cxnLst>
                  <a:rect l="l" t="t" r="r" b="b"/>
                  <a:pathLst>
                    <a:path w="184472" h="9525">
                      <a:moveTo>
                        <a:pt x="0" y="0"/>
                      </a:moveTo>
                      <a:lnTo>
                        <a:pt x="184473" y="0"/>
                      </a:lnTo>
                      <a:lnTo>
                        <a:pt x="184473" y="9525"/>
                      </a:lnTo>
                      <a:lnTo>
                        <a:pt x="0" y="9525"/>
                      </a:lnTo>
                      <a:close/>
                    </a:path>
                  </a:pathLst>
                </a:custGeom>
                <a:grpFill/>
                <a:ln w="9525" cap="flat">
                  <a:noFill/>
                  <a:prstDash val="solid"/>
                  <a:miter/>
                </a:ln>
              </p:spPr>
              <p:txBody>
                <a:bodyPr rtlCol="0" anchor="ctr"/>
                <a:lstStyle/>
                <a:p>
                  <a:pPr algn="r" rtl="1"/>
                  <a:endParaRPr lang="en-US"/>
                </a:p>
              </p:txBody>
            </p:sp>
          </p:grpSp>
        </p:grpSp>
        <p:grpSp>
          <p:nvGrpSpPr>
            <p:cNvPr id="453" name="Group 452">
              <a:extLst>
                <a:ext uri="{FF2B5EF4-FFF2-40B4-BE49-F238E27FC236}">
                  <a16:creationId xmlns:a16="http://schemas.microsoft.com/office/drawing/2014/main" id="{15216BBB-FECE-4686-A3F8-58FCDFA50443}"/>
                </a:ext>
              </a:extLst>
            </p:cNvPr>
            <p:cNvGrpSpPr/>
            <p:nvPr/>
          </p:nvGrpSpPr>
          <p:grpSpPr>
            <a:xfrm>
              <a:off x="9058912" y="4754583"/>
              <a:ext cx="362441" cy="362451"/>
              <a:chOff x="-821185" y="3354966"/>
              <a:chExt cx="857230" cy="857259"/>
            </a:xfrm>
          </p:grpSpPr>
          <p:sp>
            <p:nvSpPr>
              <p:cNvPr id="454" name="Freeform: Shape 453">
                <a:extLst>
                  <a:ext uri="{FF2B5EF4-FFF2-40B4-BE49-F238E27FC236}">
                    <a16:creationId xmlns:a16="http://schemas.microsoft.com/office/drawing/2014/main" id="{29930B2C-13CB-492E-AC01-8B378BD5C12B}"/>
                  </a:ext>
                </a:extLst>
              </p:cNvPr>
              <p:cNvSpPr/>
              <p:nvPr/>
            </p:nvSpPr>
            <p:spPr>
              <a:xfrm>
                <a:off x="-809202" y="3448050"/>
                <a:ext cx="832296" cy="434340"/>
              </a:xfrm>
              <a:custGeom>
                <a:avLst/>
                <a:gdLst>
                  <a:gd name="connsiteX0" fmla="*/ 165735 w 581025"/>
                  <a:gd name="connsiteY0" fmla="*/ 224790 h 434340"/>
                  <a:gd name="connsiteX1" fmla="*/ 0 w 581025"/>
                  <a:gd name="connsiteY1" fmla="*/ 424815 h 434340"/>
                  <a:gd name="connsiteX2" fmla="*/ 179070 w 581025"/>
                  <a:gd name="connsiteY2" fmla="*/ 0 h 434340"/>
                  <a:gd name="connsiteX3" fmla="*/ 581025 w 581025"/>
                  <a:gd name="connsiteY3" fmla="*/ 182880 h 434340"/>
                  <a:gd name="connsiteX4" fmla="*/ 342900 w 581025"/>
                  <a:gd name="connsiteY4" fmla="*/ 434340 h 434340"/>
                  <a:gd name="connsiteX5" fmla="*/ 165735 w 581025"/>
                  <a:gd name="connsiteY5" fmla="*/ 224790 h 434340"/>
                  <a:gd name="connsiteX0" fmla="*/ 226599 w 641889"/>
                  <a:gd name="connsiteY0" fmla="*/ 224790 h 434340"/>
                  <a:gd name="connsiteX1" fmla="*/ 60864 w 641889"/>
                  <a:gd name="connsiteY1" fmla="*/ 424815 h 434340"/>
                  <a:gd name="connsiteX2" fmla="*/ 239934 w 641889"/>
                  <a:gd name="connsiteY2" fmla="*/ 0 h 434340"/>
                  <a:gd name="connsiteX3" fmla="*/ 641889 w 641889"/>
                  <a:gd name="connsiteY3" fmla="*/ 182880 h 434340"/>
                  <a:gd name="connsiteX4" fmla="*/ 403764 w 641889"/>
                  <a:gd name="connsiteY4" fmla="*/ 434340 h 434340"/>
                  <a:gd name="connsiteX5" fmla="*/ 226599 w 641889"/>
                  <a:gd name="connsiteY5" fmla="*/ 224790 h 434340"/>
                  <a:gd name="connsiteX0" fmla="*/ 417586 w 832876"/>
                  <a:gd name="connsiteY0" fmla="*/ 224790 h 434340"/>
                  <a:gd name="connsiteX1" fmla="*/ 251851 w 832876"/>
                  <a:gd name="connsiteY1" fmla="*/ 424815 h 434340"/>
                  <a:gd name="connsiteX2" fmla="*/ 430921 w 832876"/>
                  <a:gd name="connsiteY2" fmla="*/ 0 h 434340"/>
                  <a:gd name="connsiteX3" fmla="*/ 832876 w 832876"/>
                  <a:gd name="connsiteY3" fmla="*/ 182880 h 434340"/>
                  <a:gd name="connsiteX4" fmla="*/ 594751 w 832876"/>
                  <a:gd name="connsiteY4" fmla="*/ 434340 h 434340"/>
                  <a:gd name="connsiteX5" fmla="*/ 417586 w 832876"/>
                  <a:gd name="connsiteY5" fmla="*/ 224790 h 434340"/>
                  <a:gd name="connsiteX0" fmla="*/ 417586 w 594751"/>
                  <a:gd name="connsiteY0" fmla="*/ 224790 h 434340"/>
                  <a:gd name="connsiteX1" fmla="*/ 251851 w 594751"/>
                  <a:gd name="connsiteY1" fmla="*/ 424815 h 434340"/>
                  <a:gd name="connsiteX2" fmla="*/ 430921 w 594751"/>
                  <a:gd name="connsiteY2" fmla="*/ 0 h 434340"/>
                  <a:gd name="connsiteX3" fmla="*/ 594751 w 594751"/>
                  <a:gd name="connsiteY3" fmla="*/ 434340 h 434340"/>
                  <a:gd name="connsiteX4" fmla="*/ 417586 w 594751"/>
                  <a:gd name="connsiteY4" fmla="*/ 224790 h 434340"/>
                  <a:gd name="connsiteX0" fmla="*/ 417586 w 594751"/>
                  <a:gd name="connsiteY0" fmla="*/ 224790 h 434340"/>
                  <a:gd name="connsiteX1" fmla="*/ 251851 w 594751"/>
                  <a:gd name="connsiteY1" fmla="*/ 424815 h 434340"/>
                  <a:gd name="connsiteX2" fmla="*/ 430921 w 594751"/>
                  <a:gd name="connsiteY2" fmla="*/ 0 h 434340"/>
                  <a:gd name="connsiteX3" fmla="*/ 594751 w 594751"/>
                  <a:gd name="connsiteY3" fmla="*/ 434340 h 434340"/>
                  <a:gd name="connsiteX4" fmla="*/ 417586 w 594751"/>
                  <a:gd name="connsiteY4" fmla="*/ 224790 h 434340"/>
                  <a:gd name="connsiteX0" fmla="*/ 417586 w 730614"/>
                  <a:gd name="connsiteY0" fmla="*/ 224790 h 434340"/>
                  <a:gd name="connsiteX1" fmla="*/ 251851 w 730614"/>
                  <a:gd name="connsiteY1" fmla="*/ 424815 h 434340"/>
                  <a:gd name="connsiteX2" fmla="*/ 430921 w 730614"/>
                  <a:gd name="connsiteY2" fmla="*/ 0 h 434340"/>
                  <a:gd name="connsiteX3" fmla="*/ 594751 w 730614"/>
                  <a:gd name="connsiteY3" fmla="*/ 434340 h 434340"/>
                  <a:gd name="connsiteX4" fmla="*/ 417586 w 730614"/>
                  <a:gd name="connsiteY4" fmla="*/ 224790 h 434340"/>
                  <a:gd name="connsiteX0" fmla="*/ 417586 w 800544"/>
                  <a:gd name="connsiteY0" fmla="*/ 224790 h 434340"/>
                  <a:gd name="connsiteX1" fmla="*/ 251851 w 800544"/>
                  <a:gd name="connsiteY1" fmla="*/ 424815 h 434340"/>
                  <a:gd name="connsiteX2" fmla="*/ 430921 w 800544"/>
                  <a:gd name="connsiteY2" fmla="*/ 0 h 434340"/>
                  <a:gd name="connsiteX3" fmla="*/ 594751 w 800544"/>
                  <a:gd name="connsiteY3" fmla="*/ 434340 h 434340"/>
                  <a:gd name="connsiteX4" fmla="*/ 417586 w 800544"/>
                  <a:gd name="connsiteY4" fmla="*/ 224790 h 434340"/>
                  <a:gd name="connsiteX0" fmla="*/ 417586 w 831205"/>
                  <a:gd name="connsiteY0" fmla="*/ 224790 h 434340"/>
                  <a:gd name="connsiteX1" fmla="*/ 251851 w 831205"/>
                  <a:gd name="connsiteY1" fmla="*/ 424815 h 434340"/>
                  <a:gd name="connsiteX2" fmla="*/ 430921 w 831205"/>
                  <a:gd name="connsiteY2" fmla="*/ 0 h 434340"/>
                  <a:gd name="connsiteX3" fmla="*/ 594751 w 831205"/>
                  <a:gd name="connsiteY3" fmla="*/ 434340 h 434340"/>
                  <a:gd name="connsiteX4" fmla="*/ 417586 w 831205"/>
                  <a:gd name="connsiteY4" fmla="*/ 224790 h 434340"/>
                  <a:gd name="connsiteX0" fmla="*/ 418677 w 832296"/>
                  <a:gd name="connsiteY0" fmla="*/ 224790 h 434340"/>
                  <a:gd name="connsiteX1" fmla="*/ 252942 w 832296"/>
                  <a:gd name="connsiteY1" fmla="*/ 424815 h 434340"/>
                  <a:gd name="connsiteX2" fmla="*/ 432012 w 832296"/>
                  <a:gd name="connsiteY2" fmla="*/ 0 h 434340"/>
                  <a:gd name="connsiteX3" fmla="*/ 595842 w 832296"/>
                  <a:gd name="connsiteY3" fmla="*/ 434340 h 434340"/>
                  <a:gd name="connsiteX4" fmla="*/ 418677 w 832296"/>
                  <a:gd name="connsiteY4" fmla="*/ 224790 h 4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296" h="434340">
                    <a:moveTo>
                      <a:pt x="418677" y="224790"/>
                    </a:moveTo>
                    <a:lnTo>
                      <a:pt x="252942" y="424815"/>
                    </a:lnTo>
                    <a:cubicBezTo>
                      <a:pt x="-179493" y="296545"/>
                      <a:pt x="-16298" y="59690"/>
                      <a:pt x="432012" y="0"/>
                    </a:cubicBezTo>
                    <a:cubicBezTo>
                      <a:pt x="802852" y="55245"/>
                      <a:pt x="1028912" y="238125"/>
                      <a:pt x="595842" y="434340"/>
                    </a:cubicBezTo>
                    <a:lnTo>
                      <a:pt x="418677" y="224790"/>
                    </a:lnTo>
                    <a:close/>
                  </a:path>
                </a:pathLst>
              </a:custGeom>
              <a:solidFill>
                <a:srgbClr val="A1E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p>
            </p:txBody>
          </p:sp>
          <p:sp>
            <p:nvSpPr>
              <p:cNvPr id="455" name="Freeform: Shape 454">
                <a:extLst>
                  <a:ext uri="{FF2B5EF4-FFF2-40B4-BE49-F238E27FC236}">
                    <a16:creationId xmlns:a16="http://schemas.microsoft.com/office/drawing/2014/main" id="{7D35192F-455B-4C34-A7B1-AA084BC43F62}"/>
                  </a:ext>
                </a:extLst>
              </p:cNvPr>
              <p:cNvSpPr/>
              <p:nvPr/>
            </p:nvSpPr>
            <p:spPr>
              <a:xfrm>
                <a:off x="-821185" y="3354966"/>
                <a:ext cx="857230" cy="857259"/>
              </a:xfrm>
              <a:custGeom>
                <a:avLst/>
                <a:gdLst>
                  <a:gd name="connsiteX0" fmla="*/ 0 w 857230"/>
                  <a:gd name="connsiteY0" fmla="*/ 0 h 857259"/>
                  <a:gd name="connsiteX1" fmla="*/ 857231 w 857230"/>
                  <a:gd name="connsiteY1" fmla="*/ 0 h 857259"/>
                  <a:gd name="connsiteX2" fmla="*/ 857231 w 857230"/>
                  <a:gd name="connsiteY2" fmla="*/ 857260 h 857259"/>
                  <a:gd name="connsiteX3" fmla="*/ 0 w 857230"/>
                  <a:gd name="connsiteY3" fmla="*/ 857260 h 857259"/>
                </a:gdLst>
                <a:ahLst/>
                <a:cxnLst>
                  <a:cxn ang="0">
                    <a:pos x="connsiteX0" y="connsiteY0"/>
                  </a:cxn>
                  <a:cxn ang="0">
                    <a:pos x="connsiteX1" y="connsiteY1"/>
                  </a:cxn>
                  <a:cxn ang="0">
                    <a:pos x="connsiteX2" y="connsiteY2"/>
                  </a:cxn>
                  <a:cxn ang="0">
                    <a:pos x="connsiteX3" y="connsiteY3"/>
                  </a:cxn>
                </a:cxnLst>
                <a:rect l="l" t="t" r="r" b="b"/>
                <a:pathLst>
                  <a:path w="857230" h="857259">
                    <a:moveTo>
                      <a:pt x="0" y="0"/>
                    </a:moveTo>
                    <a:lnTo>
                      <a:pt x="857231" y="0"/>
                    </a:lnTo>
                    <a:lnTo>
                      <a:pt x="857231" y="857260"/>
                    </a:lnTo>
                    <a:lnTo>
                      <a:pt x="0" y="857260"/>
                    </a:lnTo>
                    <a:close/>
                  </a:path>
                </a:pathLst>
              </a:custGeom>
              <a:noFill/>
              <a:ln w="9525" cap="flat">
                <a:noFill/>
                <a:prstDash val="solid"/>
                <a:miter/>
              </a:ln>
            </p:spPr>
            <p:txBody>
              <a:bodyPr rtlCol="0" anchor="ctr"/>
              <a:lstStyle/>
              <a:p>
                <a:pPr algn="r" rtl="1"/>
                <a:endParaRPr lang="en-US"/>
              </a:p>
            </p:txBody>
          </p:sp>
          <p:sp>
            <p:nvSpPr>
              <p:cNvPr id="456" name="Freeform: Shape 455">
                <a:extLst>
                  <a:ext uri="{FF2B5EF4-FFF2-40B4-BE49-F238E27FC236}">
                    <a16:creationId xmlns:a16="http://schemas.microsoft.com/office/drawing/2014/main" id="{18526BE4-0136-439C-AF72-D8575687EA90}"/>
                  </a:ext>
                </a:extLst>
              </p:cNvPr>
              <p:cNvSpPr/>
              <p:nvPr/>
            </p:nvSpPr>
            <p:spPr>
              <a:xfrm>
                <a:off x="-819509" y="3447911"/>
                <a:ext cx="853868" cy="671382"/>
              </a:xfrm>
              <a:custGeom>
                <a:avLst/>
                <a:gdLst>
                  <a:gd name="connsiteX0" fmla="*/ 818674 w 853868"/>
                  <a:gd name="connsiteY0" fmla="*/ 136408 h 671382"/>
                  <a:gd name="connsiteX1" fmla="*/ 726053 w 853868"/>
                  <a:gd name="connsiteY1" fmla="*/ 64694 h 671382"/>
                  <a:gd name="connsiteX2" fmla="*/ 426939 w 853868"/>
                  <a:gd name="connsiteY2" fmla="*/ 0 h 671382"/>
                  <a:gd name="connsiteX3" fmla="*/ 127826 w 853868"/>
                  <a:gd name="connsiteY3" fmla="*/ 64694 h 671382"/>
                  <a:gd name="connsiteX4" fmla="*/ 35185 w 853868"/>
                  <a:gd name="connsiteY4" fmla="*/ 136408 h 671382"/>
                  <a:gd name="connsiteX5" fmla="*/ 0 w 853868"/>
                  <a:gd name="connsiteY5" fmla="*/ 227790 h 671382"/>
                  <a:gd name="connsiteX6" fmla="*/ 0 w 853868"/>
                  <a:gd name="connsiteY6" fmla="*/ 462124 h 671382"/>
                  <a:gd name="connsiteX7" fmla="*/ 73266 w 853868"/>
                  <a:gd name="connsiteY7" fmla="*/ 590493 h 671382"/>
                  <a:gd name="connsiteX8" fmla="*/ 255813 w 853868"/>
                  <a:gd name="connsiteY8" fmla="*/ 671084 h 671382"/>
                  <a:gd name="connsiteX9" fmla="*/ 266976 w 853868"/>
                  <a:gd name="connsiteY9" fmla="*/ 667398 h 671382"/>
                  <a:gd name="connsiteX10" fmla="*/ 426920 w 853868"/>
                  <a:gd name="connsiteY10" fmla="*/ 479574 h 671382"/>
                  <a:gd name="connsiteX11" fmla="*/ 586883 w 853868"/>
                  <a:gd name="connsiteY11" fmla="*/ 667417 h 671382"/>
                  <a:gd name="connsiteX12" fmla="*/ 595484 w 853868"/>
                  <a:gd name="connsiteY12" fmla="*/ 671379 h 671382"/>
                  <a:gd name="connsiteX13" fmla="*/ 598037 w 853868"/>
                  <a:gd name="connsiteY13" fmla="*/ 671084 h 671382"/>
                  <a:gd name="connsiteX14" fmla="*/ 780593 w 853868"/>
                  <a:gd name="connsiteY14" fmla="*/ 590493 h 671382"/>
                  <a:gd name="connsiteX15" fmla="*/ 853869 w 853868"/>
                  <a:gd name="connsiteY15" fmla="*/ 462124 h 671382"/>
                  <a:gd name="connsiteX16" fmla="*/ 853869 w 853868"/>
                  <a:gd name="connsiteY16" fmla="*/ 227790 h 671382"/>
                  <a:gd name="connsiteX17" fmla="*/ 818674 w 853868"/>
                  <a:gd name="connsiteY17" fmla="*/ 136408 h 671382"/>
                  <a:gd name="connsiteX18" fmla="*/ 22612 w 853868"/>
                  <a:gd name="connsiteY18" fmla="*/ 292989 h 671382"/>
                  <a:gd name="connsiteX19" fmla="*/ 76057 w 853868"/>
                  <a:gd name="connsiteY19" fmla="*/ 352587 h 671382"/>
                  <a:gd name="connsiteX20" fmla="*/ 251584 w 853868"/>
                  <a:gd name="connsiteY20" fmla="*/ 431111 h 671382"/>
                  <a:gd name="connsiteX21" fmla="*/ 251584 w 853868"/>
                  <a:gd name="connsiteY21" fmla="*/ 646814 h 671382"/>
                  <a:gd name="connsiteX22" fmla="*/ 87230 w 853868"/>
                  <a:gd name="connsiteY22" fmla="*/ 572700 h 671382"/>
                  <a:gd name="connsiteX23" fmla="*/ 22612 w 853868"/>
                  <a:gd name="connsiteY23" fmla="*/ 462124 h 671382"/>
                  <a:gd name="connsiteX24" fmla="*/ 22612 w 853868"/>
                  <a:gd name="connsiteY24" fmla="*/ 292989 h 671382"/>
                  <a:gd name="connsiteX25" fmla="*/ 418309 w 853868"/>
                  <a:gd name="connsiteY25" fmla="*/ 454809 h 671382"/>
                  <a:gd name="connsiteX26" fmla="*/ 265147 w 853868"/>
                  <a:gd name="connsiteY26" fmla="*/ 634651 h 671382"/>
                  <a:gd name="connsiteX27" fmla="*/ 265147 w 853868"/>
                  <a:gd name="connsiteY27" fmla="*/ 428225 h 671382"/>
                  <a:gd name="connsiteX28" fmla="*/ 420129 w 853868"/>
                  <a:gd name="connsiteY28" fmla="*/ 246221 h 671382"/>
                  <a:gd name="connsiteX29" fmla="*/ 420129 w 853868"/>
                  <a:gd name="connsiteY29" fmla="*/ 453095 h 671382"/>
                  <a:gd name="connsiteX30" fmla="*/ 418309 w 853868"/>
                  <a:gd name="connsiteY30" fmla="*/ 454809 h 671382"/>
                  <a:gd name="connsiteX31" fmla="*/ 435540 w 853868"/>
                  <a:gd name="connsiteY31" fmla="*/ 454809 h 671382"/>
                  <a:gd name="connsiteX32" fmla="*/ 433711 w 853868"/>
                  <a:gd name="connsiteY32" fmla="*/ 453095 h 671382"/>
                  <a:gd name="connsiteX33" fmla="*/ 433711 w 853868"/>
                  <a:gd name="connsiteY33" fmla="*/ 246231 h 671382"/>
                  <a:gd name="connsiteX34" fmla="*/ 588702 w 853868"/>
                  <a:gd name="connsiteY34" fmla="*/ 428225 h 671382"/>
                  <a:gd name="connsiteX35" fmla="*/ 588702 w 853868"/>
                  <a:gd name="connsiteY35" fmla="*/ 634670 h 671382"/>
                  <a:gd name="connsiteX36" fmla="*/ 435540 w 853868"/>
                  <a:gd name="connsiteY36" fmla="*/ 454809 h 671382"/>
                  <a:gd name="connsiteX37" fmla="*/ 597980 w 853868"/>
                  <a:gd name="connsiteY37" fmla="*/ 418176 h 671382"/>
                  <a:gd name="connsiteX38" fmla="*/ 432197 w 853868"/>
                  <a:gd name="connsiteY38" fmla="*/ 223514 h 671382"/>
                  <a:gd name="connsiteX39" fmla="*/ 426911 w 853868"/>
                  <a:gd name="connsiteY39" fmla="*/ 221009 h 671382"/>
                  <a:gd name="connsiteX40" fmla="*/ 426911 w 853868"/>
                  <a:gd name="connsiteY40" fmla="*/ 221009 h 671382"/>
                  <a:gd name="connsiteX41" fmla="*/ 426720 w 853868"/>
                  <a:gd name="connsiteY41" fmla="*/ 221009 h 671382"/>
                  <a:gd name="connsiteX42" fmla="*/ 426691 w 853868"/>
                  <a:gd name="connsiteY42" fmla="*/ 221009 h 671382"/>
                  <a:gd name="connsiteX43" fmla="*/ 426672 w 853868"/>
                  <a:gd name="connsiteY43" fmla="*/ 221009 h 671382"/>
                  <a:gd name="connsiteX44" fmla="*/ 423501 w 853868"/>
                  <a:gd name="connsiteY44" fmla="*/ 221933 h 671382"/>
                  <a:gd name="connsiteX45" fmla="*/ 421738 w 853868"/>
                  <a:gd name="connsiteY45" fmla="*/ 223390 h 671382"/>
                  <a:gd name="connsiteX46" fmla="*/ 255870 w 853868"/>
                  <a:gd name="connsiteY46" fmla="*/ 418176 h 671382"/>
                  <a:gd name="connsiteX47" fmla="*/ 22603 w 853868"/>
                  <a:gd name="connsiteY47" fmla="*/ 258747 h 671382"/>
                  <a:gd name="connsiteX48" fmla="*/ 22603 w 853868"/>
                  <a:gd name="connsiteY48" fmla="*/ 227790 h 671382"/>
                  <a:gd name="connsiteX49" fmla="*/ 138246 w 853868"/>
                  <a:gd name="connsiteY49" fmla="*/ 84744 h 671382"/>
                  <a:gd name="connsiteX50" fmla="*/ 426930 w 853868"/>
                  <a:gd name="connsiteY50" fmla="*/ 22622 h 671382"/>
                  <a:gd name="connsiteX51" fmla="*/ 715604 w 853868"/>
                  <a:gd name="connsiteY51" fmla="*/ 84744 h 671382"/>
                  <a:gd name="connsiteX52" fmla="*/ 831256 w 853868"/>
                  <a:gd name="connsiteY52" fmla="*/ 227790 h 671382"/>
                  <a:gd name="connsiteX53" fmla="*/ 831256 w 853868"/>
                  <a:gd name="connsiteY53" fmla="*/ 258747 h 671382"/>
                  <a:gd name="connsiteX54" fmla="*/ 597980 w 853868"/>
                  <a:gd name="connsiteY54" fmla="*/ 418176 h 671382"/>
                  <a:gd name="connsiteX55" fmla="*/ 766629 w 853868"/>
                  <a:gd name="connsiteY55" fmla="*/ 572700 h 671382"/>
                  <a:gd name="connsiteX56" fmla="*/ 602275 w 853868"/>
                  <a:gd name="connsiteY56" fmla="*/ 646814 h 671382"/>
                  <a:gd name="connsiteX57" fmla="*/ 602275 w 853868"/>
                  <a:gd name="connsiteY57" fmla="*/ 431111 h 671382"/>
                  <a:gd name="connsiteX58" fmla="*/ 777812 w 853868"/>
                  <a:gd name="connsiteY58" fmla="*/ 352587 h 671382"/>
                  <a:gd name="connsiteX59" fmla="*/ 831256 w 853868"/>
                  <a:gd name="connsiteY59" fmla="*/ 292989 h 671382"/>
                  <a:gd name="connsiteX60" fmla="*/ 831256 w 853868"/>
                  <a:gd name="connsiteY60" fmla="*/ 462124 h 671382"/>
                  <a:gd name="connsiteX61" fmla="*/ 766629 w 853868"/>
                  <a:gd name="connsiteY61" fmla="*/ 572700 h 67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53868" h="671382">
                    <a:moveTo>
                      <a:pt x="818674" y="136408"/>
                    </a:moveTo>
                    <a:cubicBezTo>
                      <a:pt x="796776" y="109423"/>
                      <a:pt x="765610" y="85296"/>
                      <a:pt x="726053" y="64694"/>
                    </a:cubicBezTo>
                    <a:cubicBezTo>
                      <a:pt x="645976" y="22974"/>
                      <a:pt x="539725" y="0"/>
                      <a:pt x="426939" y="0"/>
                    </a:cubicBezTo>
                    <a:cubicBezTo>
                      <a:pt x="314125" y="0"/>
                      <a:pt x="207902" y="22974"/>
                      <a:pt x="127826" y="64694"/>
                    </a:cubicBezTo>
                    <a:cubicBezTo>
                      <a:pt x="88278" y="85296"/>
                      <a:pt x="57112" y="109414"/>
                      <a:pt x="35185" y="136408"/>
                    </a:cubicBezTo>
                    <a:cubicBezTo>
                      <a:pt x="11840" y="165154"/>
                      <a:pt x="0" y="195910"/>
                      <a:pt x="0" y="227790"/>
                    </a:cubicBezTo>
                    <a:lnTo>
                      <a:pt x="0" y="462124"/>
                    </a:lnTo>
                    <a:cubicBezTo>
                      <a:pt x="0" y="508425"/>
                      <a:pt x="25336" y="552802"/>
                      <a:pt x="73266" y="590493"/>
                    </a:cubicBezTo>
                    <a:cubicBezTo>
                      <a:pt x="118548" y="626059"/>
                      <a:pt x="181670" y="653929"/>
                      <a:pt x="255813" y="671084"/>
                    </a:cubicBezTo>
                    <a:cubicBezTo>
                      <a:pt x="259937" y="672055"/>
                      <a:pt x="264233" y="670617"/>
                      <a:pt x="266976" y="667398"/>
                    </a:cubicBezTo>
                    <a:lnTo>
                      <a:pt x="426920" y="479574"/>
                    </a:lnTo>
                    <a:lnTo>
                      <a:pt x="586883" y="667417"/>
                    </a:lnTo>
                    <a:cubicBezTo>
                      <a:pt x="589064" y="669950"/>
                      <a:pt x="592226" y="671379"/>
                      <a:pt x="595484" y="671379"/>
                    </a:cubicBezTo>
                    <a:cubicBezTo>
                      <a:pt x="596341" y="671379"/>
                      <a:pt x="597198" y="671265"/>
                      <a:pt x="598037" y="671084"/>
                    </a:cubicBezTo>
                    <a:cubicBezTo>
                      <a:pt x="672189" y="653929"/>
                      <a:pt x="735311" y="626078"/>
                      <a:pt x="780593" y="590493"/>
                    </a:cubicBezTo>
                    <a:cubicBezTo>
                      <a:pt x="828542" y="552822"/>
                      <a:pt x="853869" y="508435"/>
                      <a:pt x="853869" y="462124"/>
                    </a:cubicBezTo>
                    <a:lnTo>
                      <a:pt x="853869" y="227790"/>
                    </a:lnTo>
                    <a:cubicBezTo>
                      <a:pt x="853869" y="195901"/>
                      <a:pt x="842039" y="165154"/>
                      <a:pt x="818674" y="136408"/>
                    </a:cubicBezTo>
                    <a:close/>
                    <a:moveTo>
                      <a:pt x="22612" y="292989"/>
                    </a:moveTo>
                    <a:cubicBezTo>
                      <a:pt x="34642" y="314068"/>
                      <a:pt x="52568" y="334127"/>
                      <a:pt x="76057" y="352587"/>
                    </a:cubicBezTo>
                    <a:cubicBezTo>
                      <a:pt x="119739" y="386915"/>
                      <a:pt x="180346" y="414014"/>
                      <a:pt x="251584" y="431111"/>
                    </a:cubicBezTo>
                    <a:lnTo>
                      <a:pt x="251584" y="646814"/>
                    </a:lnTo>
                    <a:cubicBezTo>
                      <a:pt x="184709" y="630279"/>
                      <a:pt x="128026" y="604771"/>
                      <a:pt x="87230" y="572700"/>
                    </a:cubicBezTo>
                    <a:cubicBezTo>
                      <a:pt x="44948" y="539477"/>
                      <a:pt x="22612" y="501244"/>
                      <a:pt x="22612" y="462124"/>
                    </a:cubicBezTo>
                    <a:lnTo>
                      <a:pt x="22612" y="292989"/>
                    </a:lnTo>
                    <a:close/>
                    <a:moveTo>
                      <a:pt x="418309" y="454809"/>
                    </a:moveTo>
                    <a:lnTo>
                      <a:pt x="265147" y="634651"/>
                    </a:lnTo>
                    <a:lnTo>
                      <a:pt x="265147" y="428225"/>
                    </a:lnTo>
                    <a:lnTo>
                      <a:pt x="420129" y="246221"/>
                    </a:lnTo>
                    <a:lnTo>
                      <a:pt x="420129" y="453095"/>
                    </a:lnTo>
                    <a:cubicBezTo>
                      <a:pt x="419481" y="453600"/>
                      <a:pt x="418852" y="454162"/>
                      <a:pt x="418309" y="454809"/>
                    </a:cubicBezTo>
                    <a:close/>
                    <a:moveTo>
                      <a:pt x="435540" y="454809"/>
                    </a:moveTo>
                    <a:cubicBezTo>
                      <a:pt x="434988" y="454162"/>
                      <a:pt x="434369" y="453600"/>
                      <a:pt x="433711" y="453095"/>
                    </a:cubicBezTo>
                    <a:lnTo>
                      <a:pt x="433711" y="246231"/>
                    </a:lnTo>
                    <a:lnTo>
                      <a:pt x="588702" y="428225"/>
                    </a:lnTo>
                    <a:lnTo>
                      <a:pt x="588702" y="634670"/>
                    </a:lnTo>
                    <a:lnTo>
                      <a:pt x="435540" y="454809"/>
                    </a:lnTo>
                    <a:close/>
                    <a:moveTo>
                      <a:pt x="597980" y="418176"/>
                    </a:moveTo>
                    <a:lnTo>
                      <a:pt x="432197" y="223514"/>
                    </a:lnTo>
                    <a:cubicBezTo>
                      <a:pt x="430940" y="221990"/>
                      <a:pt x="429054" y="221009"/>
                      <a:pt x="426911" y="221009"/>
                    </a:cubicBezTo>
                    <a:lnTo>
                      <a:pt x="426911" y="221009"/>
                    </a:lnTo>
                    <a:cubicBezTo>
                      <a:pt x="426872" y="220999"/>
                      <a:pt x="426787" y="221009"/>
                      <a:pt x="426720" y="221009"/>
                    </a:cubicBezTo>
                    <a:cubicBezTo>
                      <a:pt x="426710" y="221009"/>
                      <a:pt x="426710" y="221009"/>
                      <a:pt x="426691" y="221009"/>
                    </a:cubicBezTo>
                    <a:cubicBezTo>
                      <a:pt x="426691" y="221009"/>
                      <a:pt x="426682" y="221009"/>
                      <a:pt x="426672" y="221009"/>
                    </a:cubicBezTo>
                    <a:cubicBezTo>
                      <a:pt x="425520" y="221056"/>
                      <a:pt x="424434" y="221380"/>
                      <a:pt x="423501" y="221933"/>
                    </a:cubicBezTo>
                    <a:cubicBezTo>
                      <a:pt x="422853" y="222313"/>
                      <a:pt x="422253" y="222799"/>
                      <a:pt x="421738" y="223390"/>
                    </a:cubicBezTo>
                    <a:lnTo>
                      <a:pt x="255870" y="418176"/>
                    </a:lnTo>
                    <a:cubicBezTo>
                      <a:pt x="129826" y="388172"/>
                      <a:pt x="42843" y="327727"/>
                      <a:pt x="22603" y="258747"/>
                    </a:cubicBezTo>
                    <a:lnTo>
                      <a:pt x="22603" y="227790"/>
                    </a:lnTo>
                    <a:cubicBezTo>
                      <a:pt x="22603" y="174393"/>
                      <a:pt x="63665" y="123587"/>
                      <a:pt x="138246" y="84744"/>
                    </a:cubicBezTo>
                    <a:cubicBezTo>
                      <a:pt x="215170" y="44672"/>
                      <a:pt x="317687" y="22622"/>
                      <a:pt x="426930" y="22622"/>
                    </a:cubicBezTo>
                    <a:cubicBezTo>
                      <a:pt x="536172" y="22622"/>
                      <a:pt x="638670" y="44682"/>
                      <a:pt x="715604" y="84744"/>
                    </a:cubicBezTo>
                    <a:cubicBezTo>
                      <a:pt x="790185" y="123587"/>
                      <a:pt x="831256" y="174384"/>
                      <a:pt x="831256" y="227790"/>
                    </a:cubicBezTo>
                    <a:lnTo>
                      <a:pt x="831256" y="258747"/>
                    </a:lnTo>
                    <a:cubicBezTo>
                      <a:pt x="811006" y="327736"/>
                      <a:pt x="724024" y="388172"/>
                      <a:pt x="597980" y="418176"/>
                    </a:cubicBezTo>
                    <a:close/>
                    <a:moveTo>
                      <a:pt x="766629" y="572700"/>
                    </a:moveTo>
                    <a:cubicBezTo>
                      <a:pt x="725824" y="604771"/>
                      <a:pt x="669141" y="630279"/>
                      <a:pt x="602275" y="646814"/>
                    </a:cubicBezTo>
                    <a:lnTo>
                      <a:pt x="602275" y="431111"/>
                    </a:lnTo>
                    <a:cubicBezTo>
                      <a:pt x="673494" y="414014"/>
                      <a:pt x="734111" y="386925"/>
                      <a:pt x="777812" y="352587"/>
                    </a:cubicBezTo>
                    <a:cubicBezTo>
                      <a:pt x="801291" y="334127"/>
                      <a:pt x="819236" y="314077"/>
                      <a:pt x="831256" y="292989"/>
                    </a:cubicBezTo>
                    <a:lnTo>
                      <a:pt x="831256" y="462124"/>
                    </a:lnTo>
                    <a:cubicBezTo>
                      <a:pt x="831256" y="501244"/>
                      <a:pt x="808901" y="539496"/>
                      <a:pt x="766629" y="572700"/>
                    </a:cubicBezTo>
                    <a:close/>
                  </a:path>
                </a:pathLst>
              </a:custGeom>
              <a:solidFill>
                <a:schemeClr val="tx2"/>
              </a:solidFill>
              <a:ln w="9525" cap="flat">
                <a:noFill/>
                <a:prstDash val="solid"/>
                <a:miter/>
              </a:ln>
            </p:spPr>
            <p:txBody>
              <a:bodyPr rtlCol="0" anchor="ctr"/>
              <a:lstStyle/>
              <a:p>
                <a:pPr algn="r" rtl="1"/>
                <a:endParaRPr lang="en-US"/>
              </a:p>
            </p:txBody>
          </p:sp>
        </p:grpSp>
      </p:grpSp>
      <p:cxnSp>
        <p:nvCxnSpPr>
          <p:cNvPr id="462" name="Connector: Elbow 461">
            <a:extLst>
              <a:ext uri="{FF2B5EF4-FFF2-40B4-BE49-F238E27FC236}">
                <a16:creationId xmlns:a16="http://schemas.microsoft.com/office/drawing/2014/main" id="{36567F51-D086-496E-A1FC-A8DAFC7661E3}"/>
              </a:ext>
            </a:extLst>
          </p:cNvPr>
          <p:cNvCxnSpPr>
            <a:cxnSpLocks/>
            <a:stCxn id="256" idx="2"/>
            <a:endCxn id="253" idx="0"/>
          </p:cNvCxnSpPr>
          <p:nvPr/>
        </p:nvCxnSpPr>
        <p:spPr>
          <a:xfrm rot="16200000" flipH="1">
            <a:off x="6394589" y="3800148"/>
            <a:ext cx="253240" cy="915182"/>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63" name="Connector: Elbow 462">
            <a:extLst>
              <a:ext uri="{FF2B5EF4-FFF2-40B4-BE49-F238E27FC236}">
                <a16:creationId xmlns:a16="http://schemas.microsoft.com/office/drawing/2014/main" id="{B096FAF6-23B2-4D16-AECE-DA9742F36DFB}"/>
              </a:ext>
            </a:extLst>
          </p:cNvPr>
          <p:cNvCxnSpPr>
            <a:cxnSpLocks/>
            <a:stCxn id="256" idx="2"/>
            <a:endCxn id="208" idx="0"/>
          </p:cNvCxnSpPr>
          <p:nvPr/>
        </p:nvCxnSpPr>
        <p:spPr>
          <a:xfrm rot="5400000">
            <a:off x="4539305" y="2860046"/>
            <a:ext cx="253240" cy="2795386"/>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64" name="Connector: Elbow 463">
            <a:extLst>
              <a:ext uri="{FF2B5EF4-FFF2-40B4-BE49-F238E27FC236}">
                <a16:creationId xmlns:a16="http://schemas.microsoft.com/office/drawing/2014/main" id="{A648CE25-A0D4-482F-9793-514C039E4156}"/>
              </a:ext>
            </a:extLst>
          </p:cNvPr>
          <p:cNvCxnSpPr>
            <a:cxnSpLocks/>
            <a:stCxn id="256" idx="2"/>
            <a:endCxn id="206" idx="0"/>
          </p:cNvCxnSpPr>
          <p:nvPr/>
        </p:nvCxnSpPr>
        <p:spPr>
          <a:xfrm rot="5400000">
            <a:off x="3611664" y="1932404"/>
            <a:ext cx="253240" cy="4650669"/>
          </a:xfrm>
          <a:prstGeom prst="bentConnector3">
            <a:avLst>
              <a:gd name="adj1" fmla="val 50000"/>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65" name="Straight Arrow Connector 464">
            <a:extLst>
              <a:ext uri="{FF2B5EF4-FFF2-40B4-BE49-F238E27FC236}">
                <a16:creationId xmlns:a16="http://schemas.microsoft.com/office/drawing/2014/main" id="{118408AB-B372-4EAE-B94D-F5AA984ACAFC}"/>
              </a:ext>
            </a:extLst>
          </p:cNvPr>
          <p:cNvCxnSpPr>
            <a:cxnSpLocks/>
          </p:cNvCxnSpPr>
          <p:nvPr/>
        </p:nvCxnSpPr>
        <p:spPr>
          <a:xfrm flipH="1" flipV="1">
            <a:off x="9724292" y="4827276"/>
            <a:ext cx="291536" cy="1"/>
          </a:xfrm>
          <a:prstGeom prst="straightConnector1">
            <a:avLst/>
          </a:prstGeom>
          <a:ln w="22225">
            <a:solidFill>
              <a:schemeClr val="bg1">
                <a:lumMod val="75000"/>
              </a:schemeClr>
            </a:solidFill>
            <a:tailEnd type="arrow" w="med" len="sm"/>
          </a:ln>
        </p:spPr>
        <p:style>
          <a:lnRef idx="1">
            <a:schemeClr val="accent1"/>
          </a:lnRef>
          <a:fillRef idx="0">
            <a:schemeClr val="accent1"/>
          </a:fillRef>
          <a:effectRef idx="0">
            <a:schemeClr val="accent1"/>
          </a:effectRef>
          <a:fontRef idx="minor">
            <a:schemeClr val="tx1"/>
          </a:fontRef>
        </p:style>
      </p:cxnSp>
      <p:sp>
        <p:nvSpPr>
          <p:cNvPr id="129" name="Rectangle: Rounded Corners 128">
            <a:extLst>
              <a:ext uri="{FF2B5EF4-FFF2-40B4-BE49-F238E27FC236}">
                <a16:creationId xmlns:a16="http://schemas.microsoft.com/office/drawing/2014/main" id="{389149C6-D052-4C7F-BA7B-A557B243429A}"/>
              </a:ext>
            </a:extLst>
          </p:cNvPr>
          <p:cNvSpPr/>
          <p:nvPr/>
        </p:nvSpPr>
        <p:spPr>
          <a:xfrm flipH="1">
            <a:off x="9971177" y="4640553"/>
            <a:ext cx="1541255" cy="373447"/>
          </a:xfrm>
          <a:prstGeom prst="roundRect">
            <a:avLst>
              <a:gd name="adj" fmla="val 0"/>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800" b="1">
                <a:solidFill>
                  <a:srgbClr val="282560"/>
                </a:solidFill>
                <a:latin typeface="DIN Next LT Arabic"/>
              </a:rPr>
              <a:t>أداة البيانات التعريفية (</a:t>
            </a:r>
            <a:r>
              <a:rPr lang="en-US" sz="800" b="1">
                <a:solidFill>
                  <a:srgbClr val="282560"/>
                </a:solidFill>
                <a:latin typeface="DIN Next LT Arabic"/>
              </a:rPr>
              <a:t>Metadata</a:t>
            </a:r>
            <a:r>
              <a:rPr lang="ar-SA" sz="800" b="1">
                <a:solidFill>
                  <a:srgbClr val="282560"/>
                </a:solidFill>
                <a:latin typeface="DIN Next LT Arabic"/>
              </a:rPr>
              <a:t>)</a:t>
            </a:r>
          </a:p>
          <a:p>
            <a:pPr algn="ctr" rtl="1"/>
            <a:r>
              <a:rPr lang="ar-SA" sz="800">
                <a:solidFill>
                  <a:srgbClr val="282560"/>
                </a:solidFill>
                <a:latin typeface="DIN Next LT Arabic"/>
              </a:rPr>
              <a:t>البحث عن البيانات واستكشافها</a:t>
            </a:r>
          </a:p>
        </p:txBody>
      </p:sp>
      <p:pic>
        <p:nvPicPr>
          <p:cNvPr id="128" name="Picture 2" descr="AURIN. Australian Urban Research Infrastructure Network">
            <a:extLst>
              <a:ext uri="{FF2B5EF4-FFF2-40B4-BE49-F238E27FC236}">
                <a16:creationId xmlns:a16="http://schemas.microsoft.com/office/drawing/2014/main" id="{0203F7C0-2835-4760-99E0-5935C72EE898}"/>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131" name="Rectangle: Rounded Corners 130">
            <a:extLst>
              <a:ext uri="{FF2B5EF4-FFF2-40B4-BE49-F238E27FC236}">
                <a16:creationId xmlns:a16="http://schemas.microsoft.com/office/drawing/2014/main" id="{3C08F563-951A-4CD4-8971-24D1D78A8EBA}"/>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pic>
        <p:nvPicPr>
          <p:cNvPr id="130" name="Picture 129">
            <a:extLst>
              <a:ext uri="{FF2B5EF4-FFF2-40B4-BE49-F238E27FC236}">
                <a16:creationId xmlns:a16="http://schemas.microsoft.com/office/drawing/2014/main" id="{E118C957-67F9-48A2-833C-02E63AF8D01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2830956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7"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620B09C7-069C-49E0-AA5A-F88ECE402694}"/>
              </a:ext>
            </a:extLst>
          </p:cNvPr>
          <p:cNvGraphicFramePr>
            <a:graphicFrameLocks noGrp="1"/>
          </p:cNvGraphicFramePr>
          <p:nvPr>
            <p:extLst>
              <p:ext uri="{D42A27DB-BD31-4B8C-83A1-F6EECF244321}">
                <p14:modId xmlns:p14="http://schemas.microsoft.com/office/powerpoint/2010/main" val="4223792960"/>
              </p:ext>
            </p:extLst>
          </p:nvPr>
        </p:nvGraphicFramePr>
        <p:xfrm>
          <a:off x="579032" y="1911830"/>
          <a:ext cx="10972373" cy="4359487"/>
        </p:xfrm>
        <a:graphic>
          <a:graphicData uri="http://schemas.openxmlformats.org/drawingml/2006/table">
            <a:tbl>
              <a:tblPr rtl="1" firstRow="1" bandRow="1">
                <a:tableStyleId>{5C22544A-7EE6-4342-B048-85BDC9FD1C3A}</a:tableStyleId>
              </a:tblPr>
              <a:tblGrid>
                <a:gridCol w="1367096">
                  <a:extLst>
                    <a:ext uri="{9D8B030D-6E8A-4147-A177-3AD203B41FA5}">
                      <a16:colId xmlns:a16="http://schemas.microsoft.com/office/drawing/2014/main" val="3637048590"/>
                    </a:ext>
                  </a:extLst>
                </a:gridCol>
                <a:gridCol w="1367096">
                  <a:extLst>
                    <a:ext uri="{9D8B030D-6E8A-4147-A177-3AD203B41FA5}">
                      <a16:colId xmlns:a16="http://schemas.microsoft.com/office/drawing/2014/main" val="55476120"/>
                    </a:ext>
                  </a:extLst>
                </a:gridCol>
                <a:gridCol w="8238181">
                  <a:extLst>
                    <a:ext uri="{9D8B030D-6E8A-4147-A177-3AD203B41FA5}">
                      <a16:colId xmlns:a16="http://schemas.microsoft.com/office/drawing/2014/main" val="4240944313"/>
                    </a:ext>
                  </a:extLst>
                </a:gridCol>
              </a:tblGrid>
              <a:tr h="320887">
                <a:tc>
                  <a:txBody>
                    <a:bodyPr/>
                    <a:lstStyle/>
                    <a:p>
                      <a:pPr marL="0" marR="0" lvl="0" indent="0" algn="ctr" defTabSz="914400" rtl="1" eaLnBrk="1" fontAlgn="auto" latinLnBrk="0" hangingPunct="1">
                        <a:lnSpc>
                          <a:spcPct val="85000"/>
                        </a:lnSpc>
                        <a:spcBef>
                          <a:spcPts val="0"/>
                        </a:spcBef>
                        <a:spcAft>
                          <a:spcPts val="0"/>
                        </a:spcAft>
                        <a:buClrTx/>
                        <a:buSzTx/>
                        <a:buFontTx/>
                        <a:buNone/>
                        <a:tabLst/>
                        <a:defRPr/>
                      </a:pPr>
                      <a:r>
                        <a:rPr lang="ar-SA" sz="1600" b="0" i="0">
                          <a:solidFill>
                            <a:schemeClr val="accent3"/>
                          </a:solidFill>
                          <a:latin typeface="+mj-lt"/>
                          <a:ea typeface="+mn-ea"/>
                          <a:cs typeface="+mn-cs"/>
                        </a:rPr>
                        <a:t>التكنولوجيا</a:t>
                      </a:r>
                    </a:p>
                  </a:txBody>
                  <a:tcPr anchor="ctr">
                    <a:lnL w="12700" cap="flat" cmpd="sng" algn="ctr">
                      <a:no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B w="28575" cap="flat" cmpd="sng" algn="ctr">
                      <a:solidFill>
                        <a:schemeClr val="accent2"/>
                      </a:solidFill>
                      <a:prstDash val="solid"/>
                      <a:round/>
                      <a:headEnd type="none" w="med" len="med"/>
                      <a:tailEnd type="none" w="med" len="med"/>
                    </a:lnB>
                    <a:noFill/>
                  </a:tcPr>
                </a:tc>
                <a:tc>
                  <a:txBody>
                    <a:bodyPr/>
                    <a:lstStyle/>
                    <a:p>
                      <a:pPr marL="0" marR="0" lvl="0" indent="0" algn="ctr" defTabSz="914400" rtl="1" eaLnBrk="1" fontAlgn="auto" latinLnBrk="0" hangingPunct="1">
                        <a:lnSpc>
                          <a:spcPct val="85000"/>
                        </a:lnSpc>
                        <a:spcBef>
                          <a:spcPts val="0"/>
                        </a:spcBef>
                        <a:spcAft>
                          <a:spcPts val="0"/>
                        </a:spcAft>
                        <a:buClrTx/>
                        <a:buSzTx/>
                        <a:buFontTx/>
                        <a:buNone/>
                        <a:tabLst/>
                        <a:defRPr/>
                      </a:pPr>
                      <a:r>
                        <a:rPr lang="ar-SA" sz="1600" b="0" i="0">
                          <a:solidFill>
                            <a:schemeClr val="accent3"/>
                          </a:solidFill>
                          <a:latin typeface="+mj-lt"/>
                          <a:ea typeface="+mn-ea"/>
                          <a:cs typeface="+mn-cs"/>
                        </a:rPr>
                        <a:t>العنصر المكوِّن</a:t>
                      </a:r>
                    </a:p>
                  </a:txBody>
                  <a:tcPr anchor="ctr">
                    <a:lnL w="6350" cap="flat" cmpd="sng" algn="ctr">
                      <a:solidFill>
                        <a:schemeClr val="accent4">
                          <a:lumMod val="50000"/>
                        </a:schemeClr>
                      </a:solidFill>
                      <a:prstDash val="sysDot"/>
                      <a:round/>
                      <a:headEnd type="none" w="med" len="med"/>
                      <a:tailEnd type="none" w="med" len="med"/>
                    </a:lnL>
                    <a:lnR w="6350" cap="flat" cmpd="sng" algn="ctr">
                      <a:solidFill>
                        <a:schemeClr val="accent4">
                          <a:lumMod val="50000"/>
                        </a:schemeClr>
                      </a:solidFill>
                      <a:prstDash val="sysDot"/>
                      <a:round/>
                      <a:headEnd type="none" w="med" len="med"/>
                      <a:tailEnd type="none" w="med" len="med"/>
                    </a:lnR>
                    <a:lnB w="28575" cap="flat" cmpd="sng" algn="ctr">
                      <a:solidFill>
                        <a:schemeClr val="accent2"/>
                      </a:solidFill>
                      <a:prstDash val="solid"/>
                      <a:round/>
                      <a:headEnd type="none" w="med" len="med"/>
                      <a:tailEnd type="none" w="med" len="med"/>
                    </a:lnB>
                    <a:noFill/>
                  </a:tcPr>
                </a:tc>
                <a:tc>
                  <a:txBody>
                    <a:bodyPr/>
                    <a:lstStyle/>
                    <a:p>
                      <a:pPr marL="0" algn="ctr" defTabSz="914400" rtl="1" eaLnBrk="1" latinLnBrk="0" hangingPunct="1">
                        <a:lnSpc>
                          <a:spcPct val="85000"/>
                        </a:lnSpc>
                      </a:pPr>
                      <a:r>
                        <a:rPr lang="ar-SA" sz="1600" b="0" i="0">
                          <a:solidFill>
                            <a:schemeClr val="accent3"/>
                          </a:solidFill>
                          <a:latin typeface="+mj-lt"/>
                          <a:ea typeface="+mn-ea"/>
                          <a:cs typeface="+mn-cs"/>
                        </a:rPr>
                        <a:t>الوصف</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B w="28575"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857926819"/>
                  </a:ext>
                </a:extLst>
              </a:tr>
              <a:tr h="914400">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ctr" defTabSz="914400" rtl="1" eaLnBrk="1" fontAlgn="auto" latinLnBrk="0" hangingPunct="1">
                        <a:lnSpc>
                          <a:spcPct val="100000"/>
                        </a:lnSpc>
                        <a:spcBef>
                          <a:spcPts val="0"/>
                        </a:spcBef>
                        <a:spcAft>
                          <a:spcPts val="0"/>
                        </a:spcAft>
                        <a:buClrTx/>
                        <a:buSzTx/>
                        <a:buFontTx/>
                        <a:buNone/>
                        <a:tabLst/>
                        <a:defRPr/>
                      </a:pPr>
                      <a:r>
                        <a:rPr lang="ar-SA" sz="1100" b="1">
                          <a:solidFill>
                            <a:schemeClr val="tx2"/>
                          </a:solidFill>
                          <a:latin typeface="+mn-lt"/>
                          <a:ea typeface="+mn-ea"/>
                          <a:cs typeface="+mn-cs"/>
                        </a:rPr>
                        <a:t>واجهة برمجة التطبيقات لدى الشبكة</a:t>
                      </a:r>
                    </a:p>
                  </a:txBody>
                  <a:tcPr anchor="ctr">
                    <a:lnL w="12700" cap="flat" cmpd="sng" algn="ctr">
                      <a:no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a:ea typeface="+mn-ea"/>
                          <a:cs typeface="+mn-cs"/>
                        </a:rPr>
                        <a:t>الوصول الى البيان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DIN Next LT Arabic"/>
                          <a:ea typeface="+mn-ea"/>
                          <a:cs typeface="+mn-cs"/>
                        </a:rPr>
                        <a:t> المشاركة والتعاون</a:t>
                      </a:r>
                    </a:p>
                  </a:txBody>
                  <a:tcPr anchor="ctr">
                    <a:lnL w="6350" cap="flat" cmpd="sng" algn="ctr">
                      <a:solidFill>
                        <a:schemeClr val="accent4">
                          <a:lumMod val="50000"/>
                        </a:schemeClr>
                      </a:solidFill>
                      <a:prstDash val="sysDot"/>
                      <a:round/>
                      <a:headEnd type="none" w="med" len="med"/>
                      <a:tailEnd type="none" w="med" len="med"/>
                    </a:lnL>
                    <a:lnR w="6350" cap="flat" cmpd="sng" algn="ctr">
                      <a:solidFill>
                        <a:schemeClr val="accent4">
                          <a:lumMod val="50000"/>
                        </a:schemeClr>
                      </a:solidFill>
                      <a:prstDash val="sysDot"/>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indent="-171450" algn="r" rtl="1">
                        <a:buFont typeface="Arial" panose="020B0604020202020204" pitchFamily="34" charset="0"/>
                        <a:buChar char="•"/>
                      </a:pPr>
                      <a:r>
                        <a:rPr lang="ar-SA" sz="1100">
                          <a:solidFill>
                            <a:schemeClr val="tx2"/>
                          </a:solidFill>
                        </a:rPr>
                        <a:t>طوّرت «الشبكة الأسترالية للبنية التحتية للأبحاث الحضرية» واجهة برمجة التطبيقات (</a:t>
                      </a:r>
                      <a:r>
                        <a:rPr lang="en-US" sz="1100">
                          <a:solidFill>
                            <a:schemeClr val="tx2"/>
                          </a:solidFill>
                        </a:rPr>
                        <a:t>API</a:t>
                      </a:r>
                      <a:r>
                        <a:rPr lang="ar-SA" sz="1100">
                          <a:solidFill>
                            <a:schemeClr val="tx2"/>
                          </a:solidFill>
                        </a:rPr>
                        <a:t>) بهدف السماح للمستخدمين </a:t>
                      </a:r>
                      <a:r>
                        <a:rPr lang="ar-SA" sz="1100" b="1">
                          <a:solidFill>
                            <a:schemeClr val="tx2"/>
                          </a:solidFill>
                        </a:rPr>
                        <a:t>بالوصول إلى مجموعة كاملة من مجموعات البيانات</a:t>
                      </a:r>
                      <a:r>
                        <a:rPr lang="ar-SA" sz="1100">
                          <a:solidFill>
                            <a:schemeClr val="tx2"/>
                          </a:solidFill>
                        </a:rPr>
                        <a:t>، دون الحاجة إلى تسجيل الدخول إلى بوابة الشبكة</a:t>
                      </a:r>
                    </a:p>
                    <a:p>
                      <a:pPr marL="171450" indent="-171450" algn="r" rtl="1">
                        <a:buFont typeface="Arial" panose="020B0604020202020204" pitchFamily="34" charset="0"/>
                        <a:buChar char="•"/>
                      </a:pPr>
                      <a:r>
                        <a:rPr lang="ar-SA" sz="1100">
                          <a:solidFill>
                            <a:schemeClr val="tx2"/>
                          </a:solidFill>
                        </a:rPr>
                        <a:t>تعتمد واجهة برمجة التطبيقات على </a:t>
                      </a:r>
                      <a:r>
                        <a:rPr lang="ar-SA" sz="1100" b="1">
                          <a:solidFill>
                            <a:schemeClr val="tx2"/>
                          </a:solidFill>
                        </a:rPr>
                        <a:t>المعايير المتبعة لدى «اتحاد نظم معلومات الجغرافيا المكانية المفتوحة»</a:t>
                      </a:r>
                      <a:r>
                        <a:rPr lang="ar-EG" sz="1100" b="1">
                          <a:solidFill>
                            <a:schemeClr val="tx2"/>
                          </a:solidFill>
                        </a:rPr>
                        <a:t>. </a:t>
                      </a:r>
                      <a:r>
                        <a:rPr lang="ar-EG" sz="1100" b="0">
                          <a:solidFill>
                            <a:schemeClr val="tx2"/>
                          </a:solidFill>
                        </a:rPr>
                        <a:t>ويمكن </a:t>
                      </a:r>
                      <a:r>
                        <a:rPr lang="ar-SA" sz="1100">
                          <a:solidFill>
                            <a:schemeClr val="tx2"/>
                          </a:solidFill>
                        </a:rPr>
                        <a:t>للمستخدمين الوصول إلى مجموعات البيانات من خلال البرامج المكتبية لنظم المعلومات الجغرافية مثل برنامج كيو جي آي إس (</a:t>
                      </a:r>
                      <a:r>
                        <a:rPr lang="en-US" sz="1100">
                          <a:solidFill>
                            <a:schemeClr val="tx2"/>
                          </a:solidFill>
                        </a:rPr>
                        <a:t>QGIS</a:t>
                      </a:r>
                      <a:r>
                        <a:rPr lang="ar-EG" sz="1100">
                          <a:solidFill>
                            <a:schemeClr val="tx2"/>
                          </a:solidFill>
                        </a:rPr>
                        <a:t>)</a:t>
                      </a:r>
                      <a:r>
                        <a:rPr lang="ar-SA" sz="1100">
                          <a:solidFill>
                            <a:schemeClr val="tx2"/>
                          </a:solidFill>
                        </a:rPr>
                        <a:t>، والتطبيقات المتوفرة على الأجهزة المحمولة وغير ذلك من البيئات والمنصات التقنية أو البرمجية (مثل لغة "بايثون" ولغة "آر" وتطبيق "جوبيتر") التي تدعم المعايير</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527865693"/>
                  </a:ext>
                </a:extLst>
              </a:tr>
              <a:tr h="760373">
                <a:tc>
                  <a:txBody>
                    <a:bodyPr/>
                    <a:lstStyle/>
                    <a:p>
                      <a:pPr marL="0" indent="0" algn="r" rtl="1">
                        <a:buFontTx/>
                        <a:buNone/>
                      </a:pPr>
                      <a:endParaRPr lang="en-US" sz="1200" b="1">
                        <a:solidFill>
                          <a:schemeClr val="tx2"/>
                        </a:solidFill>
                      </a:endParaRPr>
                    </a:p>
                    <a:p>
                      <a:pPr marL="0" indent="0" algn="r" rtl="1">
                        <a:buFontTx/>
                        <a:buNone/>
                      </a:pPr>
                      <a:endParaRPr lang="en-US" sz="1200" b="1">
                        <a:solidFill>
                          <a:schemeClr val="tx2"/>
                        </a:solidFill>
                      </a:endParaRPr>
                    </a:p>
                    <a:p>
                      <a:pPr marL="0" indent="0" algn="r" rtl="1">
                        <a:buFontTx/>
                        <a:buNone/>
                      </a:pPr>
                      <a:endParaRPr lang="en-US" sz="1200" b="1">
                        <a:solidFill>
                          <a:schemeClr val="tx2"/>
                        </a:solidFill>
                      </a:endParaRPr>
                    </a:p>
                    <a:p>
                      <a:pPr marL="0" indent="0" algn="ctr" rtl="1">
                        <a:buFontTx/>
                        <a:buNone/>
                      </a:pPr>
                      <a:r>
                        <a:rPr lang="ar-SA" sz="1200" b="1">
                          <a:solidFill>
                            <a:schemeClr val="tx2"/>
                          </a:solidFill>
                        </a:rPr>
                        <a:t>آر استوديو</a:t>
                      </a:r>
                    </a:p>
                  </a:txBody>
                  <a:tcPr anchor="ctr">
                    <a:lnL w="12700" cap="flat" cmpd="sng" algn="ctr">
                      <a:no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معالجة البيانات وتحليله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تحويل البيانات إلى صور مرئية</a:t>
                      </a:r>
                    </a:p>
                  </a:txBody>
                  <a:tcPr anchor="ctr">
                    <a:lnL w="6350" cap="flat" cmpd="sng" algn="ctr">
                      <a:solidFill>
                        <a:schemeClr val="accent4">
                          <a:lumMod val="50000"/>
                        </a:schemeClr>
                      </a:solidFill>
                      <a:prstDash val="sysDot"/>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indent="-171450" algn="r" rtl="1">
                        <a:buFont typeface="Arial" panose="020B0604020202020204" pitchFamily="34" charset="0"/>
                        <a:buChar char="•"/>
                      </a:pPr>
                      <a:r>
                        <a:rPr lang="ar-SA" sz="1100">
                          <a:solidFill>
                            <a:schemeClr val="tx2"/>
                          </a:solidFill>
                        </a:rPr>
                        <a:t>تم تطوير </a:t>
                      </a:r>
                      <a:r>
                        <a:rPr lang="ar-SA" sz="1100" b="1">
                          <a:solidFill>
                            <a:schemeClr val="tx2"/>
                          </a:solidFill>
                        </a:rPr>
                        <a:t>مجموعة شاملة من الأدوات الإحصائية</a:t>
                      </a:r>
                      <a:r>
                        <a:rPr lang="ar-SA" sz="1100">
                          <a:solidFill>
                            <a:schemeClr val="tx2"/>
                          </a:solidFill>
                        </a:rPr>
                        <a:t> لتحليل البيانات المكانية في عملية تعاونية بين شركاء مشروع «الشبكة الأسترالية للبنية التحتية للأبحاث الحضرية» وفريق التطوير التقني الأساسي</a:t>
                      </a:r>
                    </a:p>
                    <a:p>
                      <a:pPr marL="171450" indent="-171450" algn="r" rtl="1">
                        <a:buFont typeface="Arial" panose="020B0604020202020204" pitchFamily="34" charset="0"/>
                        <a:buChar char="•"/>
                      </a:pPr>
                      <a:r>
                        <a:rPr lang="ar-SA" sz="1100">
                          <a:solidFill>
                            <a:schemeClr val="tx2"/>
                          </a:solidFill>
                        </a:rPr>
                        <a:t>استُخدمت لغة البرمجة "آر" مفتوحة المصدر في كتابة عدد كبير من هذه المجموعات والوظائف الإحصائية</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401914214"/>
                  </a:ext>
                </a:extLst>
              </a:tr>
              <a:tr h="914400">
                <a:tc>
                  <a:txBody>
                    <a:bodyPr/>
                    <a:lstStyle/>
                    <a:p>
                      <a:pPr marL="0" indent="0" algn="r" rtl="1">
                        <a:buFontTx/>
                        <a:buNone/>
                      </a:pPr>
                      <a:endParaRPr lang="en-US" sz="1200" b="1" kern="1200">
                        <a:solidFill>
                          <a:schemeClr val="tx2"/>
                        </a:solidFill>
                        <a:latin typeface="+mn-lt"/>
                        <a:ea typeface="+mn-ea"/>
                        <a:cs typeface="+mn-cs"/>
                      </a:endParaRPr>
                    </a:p>
                    <a:p>
                      <a:pPr marL="0" indent="0" algn="r" rtl="1">
                        <a:buFontTx/>
                        <a:buNone/>
                      </a:pPr>
                      <a:endParaRPr lang="en-US" sz="1200" b="1" kern="1200">
                        <a:solidFill>
                          <a:schemeClr val="tx2"/>
                        </a:solidFill>
                        <a:latin typeface="+mn-lt"/>
                        <a:ea typeface="+mn-ea"/>
                        <a:cs typeface="+mn-cs"/>
                      </a:endParaRPr>
                    </a:p>
                    <a:p>
                      <a:pPr marL="0" indent="0" algn="r" rtl="1">
                        <a:buFontTx/>
                        <a:buNone/>
                      </a:pPr>
                      <a:endParaRPr lang="en-US" sz="1200" b="1" kern="1200">
                        <a:solidFill>
                          <a:schemeClr val="tx2"/>
                        </a:solidFill>
                        <a:latin typeface="+mn-lt"/>
                        <a:ea typeface="+mn-ea"/>
                        <a:cs typeface="+mn-cs"/>
                      </a:endParaRPr>
                    </a:p>
                    <a:p>
                      <a:pPr marL="0" indent="0" algn="ctr" rtl="1">
                        <a:buFontTx/>
                        <a:buNone/>
                      </a:pPr>
                      <a:r>
                        <a:rPr lang="ar-SA" sz="1200" b="1">
                          <a:solidFill>
                            <a:schemeClr val="tx2"/>
                          </a:solidFill>
                          <a:latin typeface="+mn-lt"/>
                          <a:ea typeface="+mn-ea"/>
                          <a:cs typeface="+mn-cs"/>
                        </a:rPr>
                        <a:t>حزمة برمجيات الجغرافيا المكانية مفتوحة المصدر </a:t>
                      </a:r>
                      <a:endParaRPr lang="en-US" sz="1200" b="1">
                        <a:solidFill>
                          <a:schemeClr val="tx2"/>
                        </a:solidFill>
                        <a:latin typeface="+mn-lt"/>
                        <a:ea typeface="+mn-ea"/>
                        <a:cs typeface="+mn-cs"/>
                      </a:endParaRPr>
                    </a:p>
                  </a:txBody>
                  <a:tcPr anchor="ctr">
                    <a:lnL w="12700" cap="flat" cmpd="sng" algn="ctr">
                      <a:no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cap="none" normalizeH="0" baseline="0" noProof="0">
                          <a:ln>
                            <a:noFill/>
                          </a:ln>
                          <a:solidFill>
                            <a:srgbClr val="282560"/>
                          </a:solidFill>
                          <a:effectLst/>
                          <a:uLnTx/>
                          <a:uFillTx/>
                          <a:latin typeface="+mn-lt"/>
                          <a:ea typeface="+mn-ea"/>
                          <a:cs typeface="+mn-cs"/>
                        </a:rPr>
                        <a:t> </a:t>
                      </a:r>
                      <a:r>
                        <a:rPr kumimoji="0" lang="ar-SA" sz="1100" b="0" i="0" u="none" strike="noStrike" cap="none" normalizeH="0" baseline="0" noProof="0">
                          <a:ln>
                            <a:noFill/>
                          </a:ln>
                          <a:solidFill>
                            <a:srgbClr val="282560"/>
                          </a:solidFill>
                          <a:effectLst/>
                          <a:uLnTx/>
                          <a:uFillTx/>
                          <a:latin typeface="+mn-lt"/>
                          <a:ea typeface="+mn-ea"/>
                          <a:cs typeface="+mn-cs"/>
                        </a:rPr>
                        <a:t>معالجة البيانات وتحليله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أدوات رسم الخرائط باستخدام نظم المعلومات الجغرافية</a:t>
                      </a:r>
                    </a:p>
                  </a:txBody>
                  <a:tcPr anchor="ctr">
                    <a:lnL w="6350" cap="flat" cmpd="sng" algn="ctr">
                      <a:solidFill>
                        <a:schemeClr val="accent4">
                          <a:lumMod val="50000"/>
                        </a:schemeClr>
                      </a:solidFill>
                      <a:prstDash val="sysDot"/>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indent="-171450" algn="r" rtl="1">
                        <a:buFont typeface="Arial" panose="020B0604020202020204" pitchFamily="34" charset="0"/>
                        <a:buChar char="•"/>
                      </a:pPr>
                      <a:r>
                        <a:rPr lang="ar-SA" sz="1100">
                          <a:solidFill>
                            <a:schemeClr val="tx2"/>
                          </a:solidFill>
                        </a:rPr>
                        <a:t>تجمع </a:t>
                      </a:r>
                      <a:r>
                        <a:rPr lang="ar-EG" sz="1100">
                          <a:solidFill>
                            <a:schemeClr val="tx2"/>
                          </a:solidFill>
                        </a:rPr>
                        <a:t>هذه الحزمة (</a:t>
                      </a:r>
                      <a:r>
                        <a:rPr lang="en-US" sz="1100">
                          <a:solidFill>
                            <a:schemeClr val="tx2"/>
                          </a:solidFill>
                        </a:rPr>
                        <a:t>OSGeo-Live</a:t>
                      </a:r>
                      <a:r>
                        <a:rPr lang="ar-EG" sz="1100">
                          <a:solidFill>
                            <a:schemeClr val="tx2"/>
                          </a:solidFill>
                        </a:rPr>
                        <a:t>)</a:t>
                      </a:r>
                      <a:r>
                        <a:rPr lang="ar-SA" sz="1100">
                          <a:solidFill>
                            <a:schemeClr val="tx2"/>
                          </a:solidFill>
                        </a:rPr>
                        <a:t> - التي طورتها مؤسسة الجغرافية المكانية مفتوحة المصدر </a:t>
                      </a:r>
                      <a:r>
                        <a:rPr lang="en-US" sz="1100">
                          <a:solidFill>
                            <a:schemeClr val="tx2"/>
                          </a:solidFill>
                        </a:rPr>
                        <a:t>OSGeo</a:t>
                      </a:r>
                      <a:r>
                        <a:rPr lang="ar-SA" sz="1100">
                          <a:solidFill>
                            <a:schemeClr val="tx2"/>
                          </a:solidFill>
                        </a:rPr>
                        <a:t> - بين غالبية أدوات الجغرافية المكانية مفتوحة المصدر على جهاز افتراضي قابل للتشغيل (</a:t>
                      </a:r>
                      <a:r>
                        <a:rPr lang="en-US" sz="1100">
                          <a:solidFill>
                            <a:schemeClr val="tx2"/>
                          </a:solidFill>
                        </a:rPr>
                        <a:t>bootable</a:t>
                      </a:r>
                      <a:r>
                        <a:rPr lang="ar-SA" sz="1100">
                          <a:solidFill>
                            <a:schemeClr val="tx2"/>
                          </a:solidFill>
                        </a:rPr>
                        <a:t>)</a:t>
                      </a:r>
                    </a:p>
                    <a:p>
                      <a:pPr marL="171450" indent="-171450" algn="r" rtl="1">
                        <a:buFont typeface="Arial" panose="020B0604020202020204" pitchFamily="34" charset="0"/>
                        <a:buChar char="•"/>
                      </a:pPr>
                      <a:r>
                        <a:rPr lang="ar-SA" sz="1100">
                          <a:solidFill>
                            <a:schemeClr val="tx2"/>
                          </a:solidFill>
                        </a:rPr>
                        <a:t>يمكن للمستخدمين </a:t>
                      </a:r>
                      <a:r>
                        <a:rPr lang="ar-SA" sz="1100" b="1">
                          <a:solidFill>
                            <a:schemeClr val="tx2"/>
                          </a:solidFill>
                        </a:rPr>
                        <a:t>استخراج البيانات الحضرية بسهولة من منصة عمل (</a:t>
                      </a:r>
                      <a:r>
                        <a:rPr lang="en-US" sz="1100" b="1">
                          <a:solidFill>
                            <a:schemeClr val="tx2"/>
                          </a:solidFill>
                        </a:rPr>
                        <a:t>workbench</a:t>
                      </a:r>
                      <a:r>
                        <a:rPr lang="ar-EG" sz="1100" b="1">
                          <a:solidFill>
                            <a:schemeClr val="tx2"/>
                          </a:solidFill>
                        </a:rPr>
                        <a:t>)</a:t>
                      </a:r>
                      <a:r>
                        <a:rPr lang="en-US" sz="1100" b="1">
                          <a:solidFill>
                            <a:schemeClr val="tx2"/>
                          </a:solidFill>
                        </a:rPr>
                        <a:t> </a:t>
                      </a:r>
                      <a:r>
                        <a:rPr lang="ar-SA" sz="1100" b="1">
                          <a:solidFill>
                            <a:schemeClr val="tx2"/>
                          </a:solidFill>
                        </a:rPr>
                        <a:t>«الشبكة الأسترالية للبنية التحتية للأبحاث الحضرية» وإدخالها في</a:t>
                      </a:r>
                      <a:r>
                        <a:rPr lang="ar-SA" sz="1100">
                          <a:solidFill>
                            <a:schemeClr val="tx2"/>
                          </a:solidFill>
                        </a:rPr>
                        <a:t> أدوات الجغرافية المكانية المتخصصة الموجودة ضمن حزمة برمجيات مؤسسة الجغرافية المكانية مفتوحة المصدر</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184123233"/>
                  </a:ext>
                </a:extLst>
              </a:tr>
              <a:tr h="914400">
                <a:tc>
                  <a:txBody>
                    <a:bodyPr/>
                    <a:lstStyle/>
                    <a:p>
                      <a:pPr marL="0" indent="0" algn="r" rtl="1">
                        <a:buFontTx/>
                        <a:buNone/>
                      </a:pPr>
                      <a:endParaRPr lang="en-US" sz="1200" b="1">
                        <a:solidFill>
                          <a:schemeClr val="tx2"/>
                        </a:solidFill>
                      </a:endParaRPr>
                    </a:p>
                    <a:p>
                      <a:pPr marL="0" indent="0" algn="r" rtl="1">
                        <a:buFontTx/>
                        <a:buNone/>
                      </a:pPr>
                      <a:endParaRPr lang="en-US" sz="1200" b="1">
                        <a:solidFill>
                          <a:schemeClr val="tx2"/>
                        </a:solidFill>
                      </a:endParaRPr>
                    </a:p>
                    <a:p>
                      <a:pPr marL="0" indent="0" algn="r" rtl="1">
                        <a:buFontTx/>
                        <a:buNone/>
                      </a:pPr>
                      <a:endParaRPr lang="en-US" sz="1200" b="1">
                        <a:solidFill>
                          <a:schemeClr val="tx2"/>
                        </a:solidFill>
                      </a:endParaRPr>
                    </a:p>
                    <a:p>
                      <a:pPr marL="0" indent="0" algn="ctr" rtl="1">
                        <a:buFontTx/>
                        <a:buNone/>
                      </a:pPr>
                      <a:r>
                        <a:rPr lang="ar-SA" sz="1200" b="1">
                          <a:solidFill>
                            <a:schemeClr val="tx2"/>
                          </a:solidFill>
                        </a:rPr>
                        <a:t>تيرا جي إس</a:t>
                      </a:r>
                    </a:p>
                  </a:txBody>
                  <a:tcPr anchor="ctr">
                    <a:lnL w="12700" cap="flat" cmpd="sng" algn="ctr">
                      <a:no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أدوات رسم الخرائط باستخدام نظم المعلومات الجغرافية</a:t>
                      </a:r>
                    </a:p>
                  </a:txBody>
                  <a:tcPr anchor="ctr">
                    <a:lnL w="6350" cap="flat" cmpd="sng" algn="ctr">
                      <a:solidFill>
                        <a:schemeClr val="accent4">
                          <a:lumMod val="50000"/>
                        </a:schemeClr>
                      </a:solidFill>
                      <a:prstDash val="sysDot"/>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r" rtl="1">
                        <a:buFont typeface="Arial" panose="020B0604020202020204" pitchFamily="34" charset="0"/>
                        <a:buChar char="•"/>
                      </a:pPr>
                      <a:r>
                        <a:rPr lang="ar-SA" sz="1100">
                          <a:solidFill>
                            <a:schemeClr val="tx2"/>
                          </a:solidFill>
                        </a:rPr>
                        <a:t>يعمل الموقع الإلكتروني لخرائط «الشبكة الأسترالية للبنية التحتية للأبحاث الحضرية» على تنفيذ </a:t>
                      </a:r>
                      <a:r>
                        <a:rPr lang="ar-SA" sz="1100" b="1">
                          <a:solidFill>
                            <a:schemeClr val="tx2"/>
                          </a:solidFill>
                        </a:rPr>
                        <a:t>تطبيق لعرض خرائط الجغرافية المكانية عبر الإنترنت</a:t>
                      </a:r>
                    </a:p>
                    <a:p>
                      <a:pPr marL="171450" indent="-171450" algn="r" rtl="1">
                        <a:buFont typeface="Arial" panose="020B0604020202020204" pitchFamily="34" charset="0"/>
                        <a:buChar char="•"/>
                      </a:pPr>
                      <a:r>
                        <a:rPr lang="ar-SA" sz="1100">
                          <a:solidFill>
                            <a:schemeClr val="tx2"/>
                          </a:solidFill>
                        </a:rPr>
                        <a:t>يستخدم الموقع تقنيات تيرا جي إس (</a:t>
                      </a:r>
                      <a:r>
                        <a:rPr lang="en-US" sz="1100">
                          <a:solidFill>
                            <a:schemeClr val="tx2"/>
                          </a:solidFill>
                        </a:rPr>
                        <a:t>TerriaJS</a:t>
                      </a:r>
                      <a:r>
                        <a:rPr lang="ar-SA" sz="1100">
                          <a:solidFill>
                            <a:schemeClr val="tx2"/>
                          </a:solidFill>
                        </a:rPr>
                        <a:t>) - وهي عبارة عن حل مفتوح المصدر يمكّن الناشرين من الحصول على بياناتهم المكانية بكفاءة على الويب، وتم تطوير هذه التقنية من أجل مبادرة الخرائط الوطنية التي أطلقتها الحكومة الأسترالية</a:t>
                      </a:r>
                    </a:p>
                    <a:p>
                      <a:pPr marL="171450" indent="-171450" algn="r" rtl="1">
                        <a:buFont typeface="Arial" panose="020B0604020202020204" pitchFamily="34" charset="0"/>
                        <a:buChar char="•"/>
                      </a:pPr>
                      <a:r>
                        <a:rPr lang="ar-SA" sz="1100">
                          <a:solidFill>
                            <a:schemeClr val="tx2"/>
                          </a:solidFill>
                        </a:rPr>
                        <a:t>يوفر الموقع الإلكتروني لخرائط «الشبكة الأسترالية للبنية التحتية للأبحاث الحضرية» إمكانية الوصول إلى مجموعة من </a:t>
                      </a:r>
                      <a:r>
                        <a:rPr lang="ar-SA" sz="1100" b="1">
                          <a:solidFill>
                            <a:schemeClr val="tx2"/>
                          </a:solidFill>
                        </a:rPr>
                        <a:t>طبقات البيانات الوطنية من مختلف جهات حفظ البيانات التابعة لجهات خارجية</a:t>
                      </a:r>
                      <a:r>
                        <a:rPr lang="ar-SA" sz="1100">
                          <a:solidFill>
                            <a:schemeClr val="tx2"/>
                          </a:solidFill>
                        </a:rPr>
                        <a:t> والتي تتناول موضوعات مثل عدد السكان والخصائص السكانية، والصحة والرفاهية، والمؤشرات الاجتماعية والاقتصادية، ومؤشرات الضعف، والوصول إلى الخدمات</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74778463"/>
                  </a:ext>
                </a:extLst>
              </a:tr>
            </a:tbl>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16" name="Slide Number Placeholder 4">
            <a:extLst>
              <a:ext uri="{FF2B5EF4-FFF2-40B4-BE49-F238E27FC236}">
                <a16:creationId xmlns:a16="http://schemas.microsoft.com/office/drawing/2014/main" id="{72B7D82A-BAD0-4421-84E9-308EF933AA90}"/>
              </a:ext>
            </a:extLst>
          </p:cNvPr>
          <p:cNvSpPr>
            <a:spLocks noGrp="1"/>
          </p:cNvSpPr>
          <p:nvPr>
            <p:ph type="sldNum" sz="quarter" idx="12"/>
          </p:nvPr>
        </p:nvSpPr>
        <p:spPr/>
        <p:txBody>
          <a:bodyPr/>
          <a:lstStyle/>
          <a:p>
            <a:pPr lvl="0"/>
            <a:fld id="{9FDB499F-DC86-4996-A3C7-FCE8E06389C2}" type="slidenum">
              <a:rPr lang="ar-SA" noProof="0" smtClean="0"/>
              <a:pPr lvl="0"/>
              <a:t>4</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1/ 3)</a:t>
            </a:r>
          </a:p>
        </p:txBody>
      </p:sp>
      <p:sp>
        <p:nvSpPr>
          <p:cNvPr id="13" name="Rectangle 12">
            <a:extLst>
              <a:ext uri="{FF2B5EF4-FFF2-40B4-BE49-F238E27FC236}">
                <a16:creationId xmlns:a16="http://schemas.microsoft.com/office/drawing/2014/main" id="{212B8FE4-8610-4F17-8A69-CCD66C7880DE}"/>
              </a:ext>
            </a:extLst>
          </p:cNvPr>
          <p:cNvSpPr/>
          <p:nvPr/>
        </p:nvSpPr>
        <p:spPr>
          <a:xfrm>
            <a:off x="1083673" y="1425686"/>
            <a:ext cx="10517522" cy="2555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لدى «الشبكة الأسترالية للبنية التحتية للأبحاث الحضرية» 5,931 مجموعة بيانات واردة من 150 مؤسسة وتتناول ما يقرب من 2,000 موضوع.</a:t>
            </a:r>
          </a:p>
        </p:txBody>
      </p:sp>
      <p:pic>
        <p:nvPicPr>
          <p:cNvPr id="193" name="Picture 2" descr="TerriaJS">
            <a:extLst>
              <a:ext uri="{FF2B5EF4-FFF2-40B4-BE49-F238E27FC236}">
                <a16:creationId xmlns:a16="http://schemas.microsoft.com/office/drawing/2014/main" id="{D324128C-D71F-4C2B-94DF-133C89089EA3}"/>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0590848" y="5385442"/>
            <a:ext cx="676313" cy="421005"/>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4" descr="RStudio | Open source &amp;amp; professional software for data science teams -  RStudio">
            <a:extLst>
              <a:ext uri="{FF2B5EF4-FFF2-40B4-BE49-F238E27FC236}">
                <a16:creationId xmlns:a16="http://schemas.microsoft.com/office/drawing/2014/main" id="{F6277697-9932-4711-BEA7-D1E403D89CC8}"/>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96463" y="3331214"/>
            <a:ext cx="779780" cy="273643"/>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2" descr="AURIN. Australian Urban Research Infrastructure Network">
            <a:extLst>
              <a:ext uri="{FF2B5EF4-FFF2-40B4-BE49-F238E27FC236}">
                <a16:creationId xmlns:a16="http://schemas.microsoft.com/office/drawing/2014/main" id="{8834253A-2535-423B-93BD-FEEB7A222BF2}"/>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0480438" y="2341167"/>
            <a:ext cx="879576" cy="369422"/>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6" descr="Branding Material - OSGeo">
            <a:extLst>
              <a:ext uri="{FF2B5EF4-FFF2-40B4-BE49-F238E27FC236}">
                <a16:creationId xmlns:a16="http://schemas.microsoft.com/office/drawing/2014/main" id="{91A9E40A-7C03-41B6-9F20-26BA6C5F2DE9}"/>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0361034" y="4195980"/>
            <a:ext cx="997360" cy="32469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AURIN. Australian Urban Research Infrastructure Network">
            <a:extLst>
              <a:ext uri="{FF2B5EF4-FFF2-40B4-BE49-F238E27FC236}">
                <a16:creationId xmlns:a16="http://schemas.microsoft.com/office/drawing/2014/main" id="{EF19FEAA-B60C-4BB4-AFB3-6CB20254D79F}"/>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0">
            <a:extLst>
              <a:ext uri="{FF2B5EF4-FFF2-40B4-BE49-F238E27FC236}">
                <a16:creationId xmlns:a16="http://schemas.microsoft.com/office/drawing/2014/main" id="{3605C7E5-E0FB-4D2F-9AFA-3C8770B38F14}"/>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pic>
        <p:nvPicPr>
          <p:cNvPr id="18" name="Picture 17">
            <a:extLst>
              <a:ext uri="{FF2B5EF4-FFF2-40B4-BE49-F238E27FC236}">
                <a16:creationId xmlns:a16="http://schemas.microsoft.com/office/drawing/2014/main" id="{3820D64A-B356-4C36-A19F-EFA760C838E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5298876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1"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14" name="Slide Number Placeholder 4">
            <a:extLst>
              <a:ext uri="{FF2B5EF4-FFF2-40B4-BE49-F238E27FC236}">
                <a16:creationId xmlns:a16="http://schemas.microsoft.com/office/drawing/2014/main" id="{10497DD8-E5BA-4F13-AFA6-A63EB4C30B96}"/>
              </a:ext>
            </a:extLst>
          </p:cNvPr>
          <p:cNvSpPr>
            <a:spLocks noGrp="1"/>
          </p:cNvSpPr>
          <p:nvPr>
            <p:ph type="sldNum" sz="quarter" idx="12"/>
          </p:nvPr>
        </p:nvSpPr>
        <p:spPr/>
        <p:txBody>
          <a:bodyPr/>
          <a:lstStyle/>
          <a:p>
            <a:pPr lvl="0"/>
            <a:fld id="{9FDB499F-DC86-4996-A3C7-FCE8E06389C2}" type="slidenum">
              <a:rPr lang="ar-SA" noProof="0" smtClean="0"/>
              <a:pPr lvl="0"/>
              <a:t>5</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2/ 3)</a:t>
            </a:r>
          </a:p>
        </p:txBody>
      </p:sp>
      <p:graphicFrame>
        <p:nvGraphicFramePr>
          <p:cNvPr id="166" name="Table 165">
            <a:extLst>
              <a:ext uri="{FF2B5EF4-FFF2-40B4-BE49-F238E27FC236}">
                <a16:creationId xmlns:a16="http://schemas.microsoft.com/office/drawing/2014/main" id="{464781EB-857D-4FCE-BB2F-80B0A0323B08}"/>
              </a:ext>
            </a:extLst>
          </p:cNvPr>
          <p:cNvGraphicFramePr>
            <a:graphicFrameLocks noGrp="1"/>
          </p:cNvGraphicFramePr>
          <p:nvPr>
            <p:extLst>
              <p:ext uri="{D42A27DB-BD31-4B8C-83A1-F6EECF244321}">
                <p14:modId xmlns:p14="http://schemas.microsoft.com/office/powerpoint/2010/main" val="2683534530"/>
              </p:ext>
            </p:extLst>
          </p:nvPr>
        </p:nvGraphicFramePr>
        <p:xfrm>
          <a:off x="579032" y="1891735"/>
          <a:ext cx="10972373" cy="4283287"/>
        </p:xfrm>
        <a:graphic>
          <a:graphicData uri="http://schemas.openxmlformats.org/drawingml/2006/table">
            <a:tbl>
              <a:tblPr rtl="1" firstRow="1" bandRow="1">
                <a:tableStyleId>{5C22544A-7EE6-4342-B048-85BDC9FD1C3A}</a:tableStyleId>
              </a:tblPr>
              <a:tblGrid>
                <a:gridCol w="1367096">
                  <a:extLst>
                    <a:ext uri="{9D8B030D-6E8A-4147-A177-3AD203B41FA5}">
                      <a16:colId xmlns:a16="http://schemas.microsoft.com/office/drawing/2014/main" val="3637048590"/>
                    </a:ext>
                  </a:extLst>
                </a:gridCol>
                <a:gridCol w="1367096">
                  <a:extLst>
                    <a:ext uri="{9D8B030D-6E8A-4147-A177-3AD203B41FA5}">
                      <a16:colId xmlns:a16="http://schemas.microsoft.com/office/drawing/2014/main" val="55476120"/>
                    </a:ext>
                  </a:extLst>
                </a:gridCol>
                <a:gridCol w="8238181">
                  <a:extLst>
                    <a:ext uri="{9D8B030D-6E8A-4147-A177-3AD203B41FA5}">
                      <a16:colId xmlns:a16="http://schemas.microsoft.com/office/drawing/2014/main" val="4240944313"/>
                    </a:ext>
                  </a:extLst>
                </a:gridCol>
              </a:tblGrid>
              <a:tr h="320887">
                <a:tc>
                  <a:txBody>
                    <a:bodyPr/>
                    <a:lstStyle/>
                    <a:p>
                      <a:pPr marL="0" marR="0" lvl="0" indent="0" algn="ctr" defTabSz="914400" rtl="1" eaLnBrk="1" fontAlgn="auto" latinLnBrk="0" hangingPunct="1">
                        <a:lnSpc>
                          <a:spcPct val="85000"/>
                        </a:lnSpc>
                        <a:spcBef>
                          <a:spcPts val="0"/>
                        </a:spcBef>
                        <a:spcAft>
                          <a:spcPts val="0"/>
                        </a:spcAft>
                        <a:buClrTx/>
                        <a:buSzTx/>
                        <a:buFontTx/>
                        <a:buNone/>
                        <a:tabLst/>
                        <a:defRPr/>
                      </a:pPr>
                      <a:r>
                        <a:rPr lang="ar-SA" sz="1600" b="0" i="0">
                          <a:solidFill>
                            <a:schemeClr val="accent3"/>
                          </a:solidFill>
                          <a:latin typeface="+mj-lt"/>
                          <a:ea typeface="+mn-ea"/>
                          <a:cs typeface="+mn-cs"/>
                        </a:rPr>
                        <a:t>التكنولوجيا</a:t>
                      </a:r>
                    </a:p>
                  </a:txBody>
                  <a:tcPr anchor="ctr">
                    <a:lnL w="12700" cap="flat" cmpd="sng" algn="ctr">
                      <a:no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B w="28575" cap="flat" cmpd="sng" algn="ctr">
                      <a:solidFill>
                        <a:schemeClr val="accent2"/>
                      </a:solidFill>
                      <a:prstDash val="solid"/>
                      <a:round/>
                      <a:headEnd type="none" w="med" len="med"/>
                      <a:tailEnd type="none" w="med" len="med"/>
                    </a:lnB>
                    <a:noFill/>
                  </a:tcPr>
                </a:tc>
                <a:tc>
                  <a:txBody>
                    <a:bodyPr/>
                    <a:lstStyle/>
                    <a:p>
                      <a:pPr marL="0" marR="0" lvl="0" indent="0" algn="ctr" defTabSz="914400" rtl="1" eaLnBrk="1" fontAlgn="auto" latinLnBrk="0" hangingPunct="1">
                        <a:lnSpc>
                          <a:spcPct val="85000"/>
                        </a:lnSpc>
                        <a:spcBef>
                          <a:spcPts val="0"/>
                        </a:spcBef>
                        <a:spcAft>
                          <a:spcPts val="0"/>
                        </a:spcAft>
                        <a:buClrTx/>
                        <a:buSzTx/>
                        <a:buFontTx/>
                        <a:buNone/>
                        <a:tabLst/>
                        <a:defRPr/>
                      </a:pPr>
                      <a:r>
                        <a:rPr lang="ar-SA" sz="1600" b="0" i="0">
                          <a:solidFill>
                            <a:schemeClr val="accent3"/>
                          </a:solidFill>
                          <a:latin typeface="+mj-lt"/>
                          <a:ea typeface="+mn-ea"/>
                          <a:cs typeface="+mn-cs"/>
                        </a:rPr>
                        <a:t>العنصر المكوِّن</a:t>
                      </a:r>
                    </a:p>
                  </a:txBody>
                  <a:tcPr anchor="ctr">
                    <a:lnL w="6350" cap="flat" cmpd="sng" algn="ctr">
                      <a:solidFill>
                        <a:schemeClr val="accent4">
                          <a:lumMod val="50000"/>
                        </a:schemeClr>
                      </a:solidFill>
                      <a:prstDash val="sysDot"/>
                      <a:round/>
                      <a:headEnd type="none" w="med" len="med"/>
                      <a:tailEnd type="none" w="med" len="med"/>
                    </a:lnL>
                    <a:lnR w="6350" cap="flat" cmpd="sng" algn="ctr">
                      <a:solidFill>
                        <a:schemeClr val="accent4">
                          <a:lumMod val="50000"/>
                        </a:schemeClr>
                      </a:solidFill>
                      <a:prstDash val="sysDot"/>
                      <a:round/>
                      <a:headEnd type="none" w="med" len="med"/>
                      <a:tailEnd type="none" w="med" len="med"/>
                    </a:lnR>
                    <a:lnB w="28575" cap="flat" cmpd="sng" algn="ctr">
                      <a:solidFill>
                        <a:schemeClr val="accent2"/>
                      </a:solidFill>
                      <a:prstDash val="solid"/>
                      <a:round/>
                      <a:headEnd type="none" w="med" len="med"/>
                      <a:tailEnd type="none" w="med" len="med"/>
                    </a:lnB>
                    <a:noFill/>
                  </a:tcPr>
                </a:tc>
                <a:tc>
                  <a:txBody>
                    <a:bodyPr/>
                    <a:lstStyle/>
                    <a:p>
                      <a:pPr marL="0" algn="ctr" defTabSz="914400" rtl="1" eaLnBrk="1" latinLnBrk="0" hangingPunct="1">
                        <a:lnSpc>
                          <a:spcPct val="85000"/>
                        </a:lnSpc>
                      </a:pPr>
                      <a:r>
                        <a:rPr lang="ar-SA" sz="1600" b="0" i="0">
                          <a:solidFill>
                            <a:schemeClr val="accent3"/>
                          </a:solidFill>
                          <a:latin typeface="+mj-lt"/>
                          <a:ea typeface="+mn-ea"/>
                          <a:cs typeface="+mn-cs"/>
                        </a:rPr>
                        <a:t>الوصف</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B w="28575"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857926819"/>
                  </a:ext>
                </a:extLst>
              </a:tr>
              <a:tr h="1432560">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ctr" defTabSz="914400" rtl="1" eaLnBrk="1" fontAlgn="auto" latinLnBrk="0" hangingPunct="1">
                        <a:lnSpc>
                          <a:spcPct val="100000"/>
                        </a:lnSpc>
                        <a:spcBef>
                          <a:spcPts val="0"/>
                        </a:spcBef>
                        <a:spcAft>
                          <a:spcPts val="0"/>
                        </a:spcAft>
                        <a:buClrTx/>
                        <a:buSzTx/>
                        <a:buFontTx/>
                        <a:buNone/>
                        <a:tabLst/>
                        <a:defRPr/>
                      </a:pPr>
                      <a:r>
                        <a:rPr lang="ar-SA" sz="1000" b="1">
                          <a:solidFill>
                            <a:schemeClr val="tx2"/>
                          </a:solidFill>
                          <a:latin typeface="+mn-lt"/>
                          <a:ea typeface="+mn-ea"/>
                          <a:cs typeface="+mn-cs"/>
                        </a:rPr>
                        <a:t>مُجمعات البيانات لدى شبكة أرشيف المعرفة الشاملة التابعة لمؤسسة المعرفة المفتوحة</a:t>
                      </a:r>
                    </a:p>
                  </a:txBody>
                  <a:tcPr anchor="ctr">
                    <a:lnL w="12700" cap="flat" cmpd="sng" algn="ctr">
                      <a:no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الوصول الى البيان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المشاركة والتعاون</a:t>
                      </a:r>
                    </a:p>
                  </a:txBody>
                  <a:tcPr anchor="ctr">
                    <a:lnL w="6350" cap="flat" cmpd="sng" algn="ctr">
                      <a:solidFill>
                        <a:schemeClr val="accent4">
                          <a:lumMod val="50000"/>
                        </a:schemeClr>
                      </a:solidFill>
                      <a:prstDash val="sysDot"/>
                      <a:round/>
                      <a:headEnd type="none" w="med" len="med"/>
                      <a:tailEnd type="none" w="med" len="med"/>
                    </a:lnL>
                    <a:lnR w="6350" cap="flat" cmpd="sng" algn="ctr">
                      <a:solidFill>
                        <a:schemeClr val="accent4">
                          <a:lumMod val="50000"/>
                        </a:schemeClr>
                      </a:solidFill>
                      <a:prstDash val="sysDot"/>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indent="-171450" algn="r" rtl="1">
                        <a:buFont typeface="Arial" panose="020B0604020202020204" pitchFamily="34" charset="0"/>
                        <a:buChar char="•"/>
                      </a:pPr>
                      <a:r>
                        <a:rPr lang="ar-SA" sz="1100">
                          <a:solidFill>
                            <a:schemeClr val="tx2"/>
                          </a:solidFill>
                        </a:rPr>
                        <a:t>«شبكة أرشيف المعرفة الشاملة» التي أنشأتها «مؤسسة المعرفة المفتوحة» هي عبارة عن </a:t>
                      </a:r>
                      <a:r>
                        <a:rPr lang="ar-SA" sz="1100" b="0">
                          <a:solidFill>
                            <a:schemeClr val="tx2"/>
                          </a:solidFill>
                        </a:rPr>
                        <a:t>حل برمجي مفتوح المصدر لإدارة البيانات</a:t>
                      </a:r>
                      <a:r>
                        <a:rPr lang="ar-SA" sz="1100">
                          <a:solidFill>
                            <a:schemeClr val="tx2"/>
                          </a:solidFill>
                        </a:rPr>
                        <a:t> ويستخدمه ناشرو البيانات لإنشاء مُجمعات بيانات لإتاحة بياناتهم للجمهور من خلالها</a:t>
                      </a:r>
                    </a:p>
                    <a:p>
                      <a:pPr marL="171450" indent="-171450" algn="r" rtl="1">
                        <a:buFont typeface="Arial" panose="020B0604020202020204" pitchFamily="34" charset="0"/>
                        <a:buChar char="•"/>
                      </a:pPr>
                      <a:r>
                        <a:rPr lang="ar-SA" sz="1100">
                          <a:solidFill>
                            <a:schemeClr val="tx2"/>
                          </a:solidFill>
                        </a:rPr>
                        <a:t>تستخدم «الشبكة الأسترالية للبنية التحتية للأبحاث الحضرية» مفهوم مُجمع البيانات (</a:t>
                      </a:r>
                      <a:r>
                        <a:rPr lang="en-US" sz="1100">
                          <a:solidFill>
                            <a:schemeClr val="tx2"/>
                          </a:solidFill>
                        </a:rPr>
                        <a:t>data hub</a:t>
                      </a:r>
                      <a:r>
                        <a:rPr lang="ar-SA" sz="1100">
                          <a:solidFill>
                            <a:schemeClr val="tx2"/>
                          </a:solidFill>
                        </a:rPr>
                        <a:t>) وواجهة برمجة التطبيقات الخاصة بـ «شبكة أرشيف المعرفة الشاملة» بهدف </a:t>
                      </a:r>
                      <a:r>
                        <a:rPr lang="ar-SA" sz="1100" b="1">
                          <a:solidFill>
                            <a:schemeClr val="tx2"/>
                          </a:solidFill>
                        </a:rPr>
                        <a:t>تسهيل الوصول المتبادل بين </a:t>
                      </a:r>
                      <a:r>
                        <a:rPr lang="ar-EG" sz="1100" b="1">
                          <a:solidFill>
                            <a:schemeClr val="tx2"/>
                          </a:solidFill>
                        </a:rPr>
                        <a:t>الأجهزة</a:t>
                      </a:r>
                      <a:r>
                        <a:rPr lang="ar-SA" sz="1100" b="1">
                          <a:solidFill>
                            <a:schemeClr val="tx2"/>
                          </a:solidFill>
                        </a:rPr>
                        <a:t> إلى مجموعات البيانات في جميع أنحاء البلد</a:t>
                      </a:r>
                      <a:r>
                        <a:rPr lang="ar-SA" sz="1100">
                          <a:solidFill>
                            <a:schemeClr val="tx2"/>
                          </a:solidFill>
                        </a:rPr>
                        <a:t> الموجودة لدى مختلف الجهات الحكومية ومؤسسات القطاع الخاص</a:t>
                      </a:r>
                    </a:p>
                    <a:p>
                      <a:pPr marL="171450" indent="-171450" algn="r" rtl="1">
                        <a:buFont typeface="Arial" panose="020B0604020202020204" pitchFamily="34" charset="0"/>
                        <a:buChar char="•"/>
                      </a:pPr>
                      <a:r>
                        <a:rPr lang="ar-SA" sz="1100">
                          <a:solidFill>
                            <a:schemeClr val="tx2"/>
                          </a:solidFill>
                        </a:rPr>
                        <a:t>تستفيد «الشبكة الأسترالية للبنية التحتية للأبحاث الحضرية» من </a:t>
                      </a:r>
                      <a:r>
                        <a:rPr lang="ar-SA" sz="1100" b="1">
                          <a:solidFill>
                            <a:schemeClr val="tx2"/>
                          </a:solidFill>
                        </a:rPr>
                        <a:t>خصائص استضافة وتوزيع مجمع البيانات للوصول إلى البيانات وهي في مصدرها</a:t>
                      </a:r>
                      <a:r>
                        <a:rPr lang="ar-SA" sz="1100">
                          <a:solidFill>
                            <a:schemeClr val="tx2"/>
                          </a:solidFill>
                        </a:rPr>
                        <a:t>، واستهلاك البيانات داخل بوابة «الشبكة الأسترالية للبنية التحتية للأبحاث الحضرية»</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527865693"/>
                  </a:ext>
                </a:extLst>
              </a:tr>
              <a:tr h="1432560">
                <a:tc>
                  <a:txBody>
                    <a:bodyPr/>
                    <a:lstStyle/>
                    <a:p>
                      <a:pPr marL="0" indent="0" algn="r" rtl="1">
                        <a:buFontTx/>
                        <a:buNone/>
                      </a:pPr>
                      <a:endParaRPr lang="en-US" sz="1200" b="1">
                        <a:solidFill>
                          <a:schemeClr val="tx2"/>
                        </a:solidFill>
                      </a:endParaRPr>
                    </a:p>
                    <a:p>
                      <a:pPr marL="0" indent="0" algn="r" rtl="1">
                        <a:buFontTx/>
                        <a:buNone/>
                      </a:pPr>
                      <a:endParaRPr lang="en-US" sz="1200" b="1">
                        <a:solidFill>
                          <a:schemeClr val="tx2"/>
                        </a:solidFill>
                      </a:endParaRPr>
                    </a:p>
                    <a:p>
                      <a:pPr marL="0" indent="0" algn="r" rtl="1">
                        <a:buFontTx/>
                        <a:buNone/>
                      </a:pPr>
                      <a:endParaRPr lang="ar-EG" sz="1200" b="1">
                        <a:solidFill>
                          <a:schemeClr val="tx2"/>
                        </a:solidFill>
                      </a:endParaRPr>
                    </a:p>
                    <a:p>
                      <a:pPr marL="0" indent="0" algn="r" rtl="1">
                        <a:buFontTx/>
                        <a:buNone/>
                      </a:pPr>
                      <a:endParaRPr lang="en-US" sz="1200" b="1">
                        <a:solidFill>
                          <a:schemeClr val="tx2"/>
                        </a:solidFill>
                      </a:endParaRPr>
                    </a:p>
                    <a:p>
                      <a:pPr marL="0" indent="0" algn="ctr" rtl="1">
                        <a:buFontTx/>
                        <a:buNone/>
                      </a:pPr>
                      <a:r>
                        <a:rPr lang="ar-SA" sz="1050" b="1">
                          <a:solidFill>
                            <a:schemeClr val="tx2"/>
                          </a:solidFill>
                        </a:rPr>
                        <a:t>واجهة برمجة التطبيقات لنقل الحالة التمثيلية </a:t>
                      </a:r>
                      <a:br>
                        <a:rPr lang="ar-SA" sz="1050" b="1">
                          <a:solidFill>
                            <a:schemeClr val="tx2"/>
                          </a:solidFill>
                        </a:rPr>
                      </a:br>
                      <a:r>
                        <a:rPr lang="ar-SA" sz="1050" b="1">
                          <a:solidFill>
                            <a:schemeClr val="tx2"/>
                          </a:solidFill>
                        </a:rPr>
                        <a:t>(</a:t>
                      </a:r>
                      <a:r>
                        <a:rPr lang="en-US" sz="1050" b="1">
                          <a:solidFill>
                            <a:schemeClr val="tx2"/>
                          </a:solidFill>
                        </a:rPr>
                        <a:t>ReST API</a:t>
                      </a:r>
                      <a:r>
                        <a:rPr lang="ar-SA" sz="1050" b="1">
                          <a:solidFill>
                            <a:schemeClr val="tx2"/>
                          </a:solidFill>
                        </a:rPr>
                        <a:t>)</a:t>
                      </a:r>
                    </a:p>
                  </a:txBody>
                  <a:tcPr anchor="ctr">
                    <a:lnL w="12700" cap="flat" cmpd="sng" algn="ctr">
                      <a:no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الوصول الى البيان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معالجة البيانات وتحليلها</a:t>
                      </a:r>
                    </a:p>
                  </a:txBody>
                  <a:tcPr anchor="ctr">
                    <a:lnL w="6350" cap="flat" cmpd="sng" algn="ctr">
                      <a:solidFill>
                        <a:schemeClr val="accent4">
                          <a:lumMod val="50000"/>
                        </a:schemeClr>
                      </a:solidFill>
                      <a:prstDash val="sysDot"/>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indent="-171450" algn="r" defTabSz="914400" rtl="1" eaLnBrk="1" latinLnBrk="0" hangingPunct="1">
                        <a:buFont typeface="Arial" panose="020B0604020202020204" pitchFamily="34" charset="0"/>
                        <a:buChar char="•"/>
                      </a:pPr>
                      <a:r>
                        <a:rPr lang="ar-SA" sz="1100">
                          <a:solidFill>
                            <a:schemeClr val="tx2"/>
                          </a:solidFill>
                          <a:latin typeface="+mn-lt"/>
                          <a:ea typeface="+mn-ea"/>
                          <a:cs typeface="+mn-cs"/>
                        </a:rPr>
                        <a:t>استند تصميم البنية التحتية الإلكترونية لـ «الشبكة الأسترالية للبنية التحتية للأبحاث الحضرية» إلى نموذج بنية معمارية موجهة نحو الخدمة وقائمة على خادم العميل حيث يعتمد النموذج على مجموعة متنوعة من تطبيقات الخدمات بما يشمل الخدمات القائمة على نقل الحالة التمثيلية (</a:t>
                      </a:r>
                      <a:r>
                        <a:rPr lang="en-US" sz="1100">
                          <a:solidFill>
                            <a:schemeClr val="tx2"/>
                          </a:solidFill>
                          <a:latin typeface="+mn-lt"/>
                          <a:ea typeface="+mn-ea"/>
                          <a:cs typeface="+mn-cs"/>
                        </a:rPr>
                        <a:t>ReST</a:t>
                      </a:r>
                      <a:r>
                        <a:rPr lang="ar-SA" sz="1100">
                          <a:solidFill>
                            <a:schemeClr val="tx2"/>
                          </a:solidFill>
                          <a:latin typeface="+mn-lt"/>
                          <a:ea typeface="+mn-ea"/>
                          <a:cs typeface="+mn-cs"/>
                        </a:rPr>
                        <a:t>) وخدمة الويب التي يوفرها «اتحاد نظم معلومات الجغرافيا المكانية المفتوحة»</a:t>
                      </a:r>
                    </a:p>
                    <a:p>
                      <a:pPr marL="171450" indent="-171450" algn="r" defTabSz="914400" rtl="1" eaLnBrk="1" latinLnBrk="0" hangingPunct="1">
                        <a:buFont typeface="Arial" panose="020B0604020202020204" pitchFamily="34" charset="0"/>
                        <a:buChar char="•"/>
                      </a:pPr>
                      <a:r>
                        <a:rPr lang="ar-SA" sz="1100">
                          <a:solidFill>
                            <a:schemeClr val="tx2"/>
                          </a:solidFill>
                          <a:latin typeface="+mn-lt"/>
                          <a:ea typeface="+mn-ea"/>
                          <a:cs typeface="+mn-cs"/>
                        </a:rPr>
                        <a:t>تعرض خدمة موفر البيانات </a:t>
                      </a:r>
                      <a:r>
                        <a:rPr lang="ar-EG" sz="1100">
                          <a:solidFill>
                            <a:schemeClr val="tx2"/>
                          </a:solidFill>
                          <a:latin typeface="+mn-lt"/>
                          <a:ea typeface="+mn-ea"/>
                          <a:cs typeface="+mn-cs"/>
                        </a:rPr>
                        <a:t>(</a:t>
                      </a:r>
                      <a:r>
                        <a:rPr lang="en-US" sz="1100">
                          <a:solidFill>
                            <a:schemeClr val="tx2"/>
                          </a:solidFill>
                          <a:latin typeface="+mn-lt"/>
                          <a:ea typeface="+mn-ea"/>
                          <a:cs typeface="+mn-cs"/>
                        </a:rPr>
                        <a:t>Data Provider Service</a:t>
                      </a:r>
                      <a:r>
                        <a:rPr lang="ar-EG" sz="1100">
                          <a:solidFill>
                            <a:schemeClr val="tx2"/>
                          </a:solidFill>
                          <a:latin typeface="+mn-lt"/>
                          <a:ea typeface="+mn-ea"/>
                          <a:cs typeface="+mn-cs"/>
                        </a:rPr>
                        <a:t>) </a:t>
                      </a:r>
                      <a:r>
                        <a:rPr lang="ar-SA" sz="1100">
                          <a:solidFill>
                            <a:schemeClr val="tx2"/>
                          </a:solidFill>
                          <a:latin typeface="+mn-lt"/>
                          <a:ea typeface="+mn-ea"/>
                          <a:cs typeface="+mn-cs"/>
                        </a:rPr>
                        <a:t>واجهة برمجة تطبيقات تستند إلى طريقة نقل الحالة التمثيلية التي يتم الاستعلام عنها من خلال المكونات الداخلية </a:t>
                      </a:r>
                      <a:r>
                        <a:rPr lang="ar-EG" sz="1100">
                          <a:solidFill>
                            <a:schemeClr val="tx2"/>
                          </a:solidFill>
                          <a:latin typeface="+mn-lt"/>
                          <a:ea typeface="+mn-ea"/>
                          <a:cs typeface="+mn-cs"/>
                        </a:rPr>
                        <a:t>في </a:t>
                      </a:r>
                      <a:r>
                        <a:rPr lang="ar-SA" sz="1100">
                          <a:solidFill>
                            <a:schemeClr val="tx2"/>
                          </a:solidFill>
                          <a:latin typeface="+mn-lt"/>
                          <a:ea typeface="+mn-ea"/>
                          <a:cs typeface="+mn-cs"/>
                        </a:rPr>
                        <a:t>«الشبكة الأسترالية للبنية التحتية للأبحاث الحضرية» من أجل </a:t>
                      </a:r>
                      <a:r>
                        <a:rPr lang="ar-SA" sz="1100" b="1">
                          <a:solidFill>
                            <a:schemeClr val="tx2"/>
                          </a:solidFill>
                          <a:latin typeface="+mn-lt"/>
                          <a:ea typeface="+mn-ea"/>
                          <a:cs typeface="+mn-cs"/>
                        </a:rPr>
                        <a:t>الوصول إلى خدمات البيانات الموزعة والاستعلام عنها</a:t>
                      </a:r>
                    </a:p>
                    <a:p>
                      <a:pPr marL="171450" indent="-171450" algn="r" defTabSz="914400" rtl="1" eaLnBrk="1" latinLnBrk="0" hangingPunct="1">
                        <a:buFont typeface="Arial" panose="020B0604020202020204" pitchFamily="34" charset="0"/>
                        <a:buChar char="•"/>
                      </a:pPr>
                      <a:r>
                        <a:rPr lang="ar-SA" sz="1100">
                          <a:solidFill>
                            <a:schemeClr val="tx2"/>
                          </a:solidFill>
                          <a:latin typeface="+mn-lt"/>
                          <a:ea typeface="+mn-ea"/>
                          <a:cs typeface="+mn-cs"/>
                        </a:rPr>
                        <a:t>تتيح خدمة موفر البيانات كلاً من واجهة الخدمات القائمة على طريقة نقل الحالة التمثيلية وواجهة الخدمات القائمة على </a:t>
                      </a:r>
                      <a:r>
                        <a:rPr lang="ar-EG" sz="1100">
                          <a:solidFill>
                            <a:schemeClr val="tx2"/>
                          </a:solidFill>
                          <a:latin typeface="+mn-lt"/>
                          <a:ea typeface="+mn-ea"/>
                          <a:cs typeface="+mn-cs"/>
                        </a:rPr>
                        <a:t>خدمات </a:t>
                      </a:r>
                      <a:r>
                        <a:rPr lang="ar-SA" sz="1100">
                          <a:solidFill>
                            <a:schemeClr val="tx2"/>
                          </a:solidFill>
                          <a:latin typeface="+mn-lt"/>
                          <a:ea typeface="+mn-ea"/>
                          <a:cs typeface="+mn-cs"/>
                        </a:rPr>
                        <a:t>«اتحاد نظم معلومات الجغرافيا المكانية المفتوحة»، ويتم استخدام كلاً منهما في العادة </a:t>
                      </a:r>
                      <a:r>
                        <a:rPr lang="ar-SA" sz="1100" b="1">
                          <a:solidFill>
                            <a:schemeClr val="tx2"/>
                          </a:solidFill>
                          <a:latin typeface="+mn-lt"/>
                          <a:ea typeface="+mn-ea"/>
                          <a:cs typeface="+mn-cs"/>
                        </a:rPr>
                        <a:t>لاستكشاف مجموعات البيانات والاستعلام عنها وإرجاعها حيثما كان ذلك مناسباً من خلال مجموعة من موفري البيانات</a:t>
                      </a:r>
                      <a:r>
                        <a:rPr lang="ar-SA" sz="1100">
                          <a:solidFill>
                            <a:schemeClr val="tx2"/>
                          </a:solidFill>
                          <a:latin typeface="+mn-lt"/>
                          <a:ea typeface="+mn-ea"/>
                          <a:cs typeface="+mn-cs"/>
                        </a:rPr>
                        <a:t> باستخدام الحلول التي يفرضها أو يفضلها موفر البيانات في العادة</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401914214"/>
                  </a:ext>
                </a:extLst>
              </a:tr>
              <a:tr h="1097280">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ctr" defTabSz="914400" rtl="1" eaLnBrk="1" fontAlgn="auto" latinLnBrk="0" hangingPunct="1">
                        <a:lnSpc>
                          <a:spcPct val="100000"/>
                        </a:lnSpc>
                        <a:spcBef>
                          <a:spcPts val="0"/>
                        </a:spcBef>
                        <a:spcAft>
                          <a:spcPts val="0"/>
                        </a:spcAft>
                        <a:buClrTx/>
                        <a:buSzTx/>
                        <a:buFontTx/>
                        <a:buNone/>
                        <a:tabLst/>
                        <a:defRPr/>
                      </a:pPr>
                      <a:r>
                        <a:rPr lang="ar-SA" sz="1200" b="1">
                          <a:solidFill>
                            <a:schemeClr val="tx2"/>
                          </a:solidFill>
                          <a:latin typeface="+mn-lt"/>
                          <a:ea typeface="+mn-ea"/>
                          <a:cs typeface="+mn-cs"/>
                        </a:rPr>
                        <a:t>مجموعة أدوات سواجر</a:t>
                      </a:r>
                    </a:p>
                  </a:txBody>
                  <a:tcPr anchor="ctr">
                    <a:lnL w="12700" cap="flat" cmpd="sng" algn="ctr">
                      <a:no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الوصول الى البيانات</a:t>
                      </a:r>
                    </a:p>
                  </a:txBody>
                  <a:tcPr anchor="ctr">
                    <a:lnL w="6350" cap="flat" cmpd="sng" algn="ctr">
                      <a:solidFill>
                        <a:schemeClr val="accent4">
                          <a:lumMod val="50000"/>
                        </a:schemeClr>
                      </a:solidFill>
                      <a:prstDash val="sysDot"/>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r" defTabSz="914400" rtl="1" eaLnBrk="1" latinLnBrk="0" hangingPunct="1">
                        <a:buFont typeface="Arial" panose="020B0604020202020204" pitchFamily="34" charset="0"/>
                        <a:buChar char="•"/>
                      </a:pPr>
                      <a:r>
                        <a:rPr lang="ar-SA" sz="1100">
                          <a:solidFill>
                            <a:schemeClr val="tx2"/>
                          </a:solidFill>
                          <a:latin typeface="+mn-lt"/>
                          <a:ea typeface="+mn-ea"/>
                          <a:cs typeface="+mn-cs"/>
                        </a:rPr>
                        <a:t>للمساهمة في دعم عمليتي </a:t>
                      </a:r>
                      <a:r>
                        <a:rPr lang="ar-SA" sz="1100" b="1">
                          <a:solidFill>
                            <a:schemeClr val="tx2"/>
                          </a:solidFill>
                          <a:latin typeface="+mn-lt"/>
                          <a:ea typeface="+mn-ea"/>
                          <a:cs typeface="+mn-cs"/>
                        </a:rPr>
                        <a:t>الاختبار والتوثيق الآليتين</a:t>
                      </a:r>
                      <a:r>
                        <a:rPr lang="ar-SA" sz="1100">
                          <a:solidFill>
                            <a:schemeClr val="tx2"/>
                          </a:solidFill>
                          <a:latin typeface="+mn-lt"/>
                          <a:ea typeface="+mn-ea"/>
                          <a:cs typeface="+mn-cs"/>
                        </a:rPr>
                        <a:t> للعديد من الأنظمة الفرعية لبرمجيات «الشبكة الأسترالية للبنية التحتية للأبحاث الحضرية» وتحديداً الأنظمة التي تعتمد على طريقة نقل الحالة التمثيلية، اعتمد مشروع «الشبكة الأسترالية للبنية التحتية للأبحاث الحضرية» على برمجيات سواجر وهي عبارة عن مجموعة أدوات لتوثيق واجهات برمجة التطبيقات القائمة على طريقة نقل الحالة التمثيلية وتوفر </a:t>
                      </a:r>
                      <a:r>
                        <a:rPr lang="ar-SA" sz="1100" b="1">
                          <a:solidFill>
                            <a:schemeClr val="tx2"/>
                          </a:solidFill>
                          <a:latin typeface="+mn-lt"/>
                          <a:ea typeface="+mn-ea"/>
                          <a:cs typeface="+mn-cs"/>
                        </a:rPr>
                        <a:t>واجهة مستخدم قائمة على شبكة الإنترنت لاستعراض واجهات برمجة التطبيقات واختبارها</a:t>
                      </a:r>
                      <a:r>
                        <a:rPr lang="ar-SA" sz="1100">
                          <a:solidFill>
                            <a:schemeClr val="tx2"/>
                          </a:solidFill>
                          <a:latin typeface="+mn-lt"/>
                          <a:ea typeface="+mn-ea"/>
                          <a:cs typeface="+mn-cs"/>
                        </a:rPr>
                        <a:t> عن طريق إرسال طلبات واجهة برمجة التطبيقات</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84123233"/>
                  </a:ext>
                </a:extLst>
              </a:tr>
            </a:tbl>
          </a:graphicData>
        </a:graphic>
      </p:graphicFrame>
      <p:pic>
        <p:nvPicPr>
          <p:cNvPr id="167" name="Graphic 166">
            <a:extLst>
              <a:ext uri="{FF2B5EF4-FFF2-40B4-BE49-F238E27FC236}">
                <a16:creationId xmlns:a16="http://schemas.microsoft.com/office/drawing/2014/main" id="{729CA78D-36B4-4D79-A61B-2A2A6920B8B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351225" y="2387441"/>
            <a:ext cx="1025300" cy="281958"/>
          </a:xfrm>
          <a:prstGeom prst="rect">
            <a:avLst/>
          </a:prstGeom>
        </p:spPr>
      </p:pic>
      <p:pic>
        <p:nvPicPr>
          <p:cNvPr id="168" name="Picture 2" descr="ASP.NET Core Swagger UI Authorization using IdentityServer4">
            <a:extLst>
              <a:ext uri="{FF2B5EF4-FFF2-40B4-BE49-F238E27FC236}">
                <a16:creationId xmlns:a16="http://schemas.microsoft.com/office/drawing/2014/main" id="{BE4066D9-81DE-4487-BC11-D0749D5D1993}"/>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94915" y="5291374"/>
            <a:ext cx="1137920" cy="318558"/>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68">
            <a:extLst>
              <a:ext uri="{FF2B5EF4-FFF2-40B4-BE49-F238E27FC236}">
                <a16:creationId xmlns:a16="http://schemas.microsoft.com/office/drawing/2014/main" id="{9E53A193-FBAA-4447-A1C2-33C42EBAAB8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569862" y="3834236"/>
            <a:ext cx="588026" cy="575312"/>
          </a:xfrm>
          <a:prstGeom prst="rect">
            <a:avLst/>
          </a:prstGeom>
        </p:spPr>
      </p:pic>
      <p:pic>
        <p:nvPicPr>
          <p:cNvPr id="15" name="Picture 2" descr="AURIN. Australian Urban Research Infrastructure Network">
            <a:extLst>
              <a:ext uri="{FF2B5EF4-FFF2-40B4-BE49-F238E27FC236}">
                <a16:creationId xmlns:a16="http://schemas.microsoft.com/office/drawing/2014/main" id="{1BDBF93C-CA5E-4784-B311-39EA9EF07FFA}"/>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Rounded Corners 17">
            <a:extLst>
              <a:ext uri="{FF2B5EF4-FFF2-40B4-BE49-F238E27FC236}">
                <a16:creationId xmlns:a16="http://schemas.microsoft.com/office/drawing/2014/main" id="{C79D4E35-CECC-4F5B-B807-915BBB067062}"/>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pic>
        <p:nvPicPr>
          <p:cNvPr id="16" name="Picture 15">
            <a:extLst>
              <a:ext uri="{FF2B5EF4-FFF2-40B4-BE49-F238E27FC236}">
                <a16:creationId xmlns:a16="http://schemas.microsoft.com/office/drawing/2014/main" id="{8DD12EE3-70F3-4497-B332-2FA27557ECB2}"/>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35140684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5"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13" name="Slide Number Placeholder 4">
            <a:extLst>
              <a:ext uri="{FF2B5EF4-FFF2-40B4-BE49-F238E27FC236}">
                <a16:creationId xmlns:a16="http://schemas.microsoft.com/office/drawing/2014/main" id="{B7136682-2013-4E42-BC2F-C77441C1382B}"/>
              </a:ext>
            </a:extLst>
          </p:cNvPr>
          <p:cNvSpPr>
            <a:spLocks noGrp="1"/>
          </p:cNvSpPr>
          <p:nvPr>
            <p:ph type="sldNum" sz="quarter" idx="12"/>
          </p:nvPr>
        </p:nvSpPr>
        <p:spPr/>
        <p:txBody>
          <a:bodyPr/>
          <a:lstStyle/>
          <a:p>
            <a:pPr lvl="0"/>
            <a:fld id="{9FDB499F-DC86-4996-A3C7-FCE8E06389C2}" type="slidenum">
              <a:rPr lang="ar-SA" noProof="0" smtClean="0"/>
              <a:pPr lvl="0"/>
              <a:t>6</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3/ 3)</a:t>
            </a:r>
          </a:p>
        </p:txBody>
      </p:sp>
      <p:graphicFrame>
        <p:nvGraphicFramePr>
          <p:cNvPr id="341" name="Table 340">
            <a:extLst>
              <a:ext uri="{FF2B5EF4-FFF2-40B4-BE49-F238E27FC236}">
                <a16:creationId xmlns:a16="http://schemas.microsoft.com/office/drawing/2014/main" id="{D19FACA2-8EA6-4117-955F-C83668CC6FFE}"/>
              </a:ext>
            </a:extLst>
          </p:cNvPr>
          <p:cNvGraphicFramePr>
            <a:graphicFrameLocks noGrp="1"/>
          </p:cNvGraphicFramePr>
          <p:nvPr>
            <p:extLst>
              <p:ext uri="{D42A27DB-BD31-4B8C-83A1-F6EECF244321}">
                <p14:modId xmlns:p14="http://schemas.microsoft.com/office/powerpoint/2010/main" val="4142345793"/>
              </p:ext>
            </p:extLst>
          </p:nvPr>
        </p:nvGraphicFramePr>
        <p:xfrm>
          <a:off x="579032" y="1891735"/>
          <a:ext cx="10972373" cy="3186007"/>
        </p:xfrm>
        <a:graphic>
          <a:graphicData uri="http://schemas.openxmlformats.org/drawingml/2006/table">
            <a:tbl>
              <a:tblPr rtl="1" firstRow="1" bandRow="1">
                <a:tableStyleId>{5C22544A-7EE6-4342-B048-85BDC9FD1C3A}</a:tableStyleId>
              </a:tblPr>
              <a:tblGrid>
                <a:gridCol w="1367096">
                  <a:extLst>
                    <a:ext uri="{9D8B030D-6E8A-4147-A177-3AD203B41FA5}">
                      <a16:colId xmlns:a16="http://schemas.microsoft.com/office/drawing/2014/main" val="3637048590"/>
                    </a:ext>
                  </a:extLst>
                </a:gridCol>
                <a:gridCol w="1367096">
                  <a:extLst>
                    <a:ext uri="{9D8B030D-6E8A-4147-A177-3AD203B41FA5}">
                      <a16:colId xmlns:a16="http://schemas.microsoft.com/office/drawing/2014/main" val="55476120"/>
                    </a:ext>
                  </a:extLst>
                </a:gridCol>
                <a:gridCol w="8238181">
                  <a:extLst>
                    <a:ext uri="{9D8B030D-6E8A-4147-A177-3AD203B41FA5}">
                      <a16:colId xmlns:a16="http://schemas.microsoft.com/office/drawing/2014/main" val="4240944313"/>
                    </a:ext>
                  </a:extLst>
                </a:gridCol>
              </a:tblGrid>
              <a:tr h="320887">
                <a:tc>
                  <a:txBody>
                    <a:bodyPr/>
                    <a:lstStyle/>
                    <a:p>
                      <a:pPr marL="0" marR="0" lvl="0" indent="0" algn="ctr" defTabSz="914400" rtl="1" eaLnBrk="1" fontAlgn="auto" latinLnBrk="0" hangingPunct="1">
                        <a:lnSpc>
                          <a:spcPct val="85000"/>
                        </a:lnSpc>
                        <a:spcBef>
                          <a:spcPts val="0"/>
                        </a:spcBef>
                        <a:spcAft>
                          <a:spcPts val="0"/>
                        </a:spcAft>
                        <a:buClrTx/>
                        <a:buSzTx/>
                        <a:buFontTx/>
                        <a:buNone/>
                        <a:tabLst/>
                        <a:defRPr/>
                      </a:pPr>
                      <a:r>
                        <a:rPr lang="ar-SA" sz="1600" b="0" i="0" dirty="0">
                          <a:solidFill>
                            <a:schemeClr val="accent3"/>
                          </a:solidFill>
                          <a:latin typeface="+mj-lt"/>
                          <a:ea typeface="+mn-ea"/>
                          <a:cs typeface="+mn-cs"/>
                        </a:rPr>
                        <a:t>التكنولوجيا</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noFill/>
                  </a:tcPr>
                </a:tc>
                <a:tc>
                  <a:txBody>
                    <a:bodyPr/>
                    <a:lstStyle/>
                    <a:p>
                      <a:pPr marL="0" marR="0" lvl="0" indent="0" algn="ctr" defTabSz="914400" rtl="1" eaLnBrk="1" fontAlgn="auto" latinLnBrk="0" hangingPunct="1">
                        <a:lnSpc>
                          <a:spcPct val="85000"/>
                        </a:lnSpc>
                        <a:spcBef>
                          <a:spcPts val="0"/>
                        </a:spcBef>
                        <a:spcAft>
                          <a:spcPts val="0"/>
                        </a:spcAft>
                        <a:buClrTx/>
                        <a:buSzTx/>
                        <a:buFontTx/>
                        <a:buNone/>
                        <a:tabLst/>
                        <a:defRPr/>
                      </a:pPr>
                      <a:r>
                        <a:rPr lang="ar-SA" sz="1600" b="0" i="0">
                          <a:solidFill>
                            <a:schemeClr val="accent3"/>
                          </a:solidFill>
                          <a:latin typeface="+mj-lt"/>
                          <a:ea typeface="+mn-ea"/>
                          <a:cs typeface="+mn-cs"/>
                        </a:rPr>
                        <a:t>العنصر المكوِّن</a:t>
                      </a:r>
                    </a:p>
                  </a:txBody>
                  <a:tcPr anchor="ctr">
                    <a:lnL w="12700" cap="flat" cmpd="sng" algn="ctr">
                      <a:solidFill>
                        <a:schemeClr val="bg1">
                          <a:lumMod val="75000"/>
                        </a:schemeClr>
                      </a:solid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B w="28575" cap="flat" cmpd="sng" algn="ctr">
                      <a:solidFill>
                        <a:schemeClr val="accent2"/>
                      </a:solidFill>
                      <a:prstDash val="solid"/>
                      <a:round/>
                      <a:headEnd type="none" w="med" len="med"/>
                      <a:tailEnd type="none" w="med" len="med"/>
                    </a:lnB>
                    <a:noFill/>
                  </a:tcPr>
                </a:tc>
                <a:tc>
                  <a:txBody>
                    <a:bodyPr/>
                    <a:lstStyle/>
                    <a:p>
                      <a:pPr marL="0" algn="ctr" defTabSz="914400" rtl="1" eaLnBrk="1" latinLnBrk="0" hangingPunct="1">
                        <a:lnSpc>
                          <a:spcPct val="85000"/>
                        </a:lnSpc>
                      </a:pPr>
                      <a:r>
                        <a:rPr lang="ar-SA" sz="1600" b="0" i="0">
                          <a:solidFill>
                            <a:schemeClr val="accent3"/>
                          </a:solidFill>
                          <a:latin typeface="+mj-lt"/>
                          <a:ea typeface="+mn-ea"/>
                          <a:cs typeface="+mn-cs"/>
                        </a:rPr>
                        <a:t>الوصف</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B w="28575"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857926819"/>
                  </a:ext>
                </a:extLst>
              </a:tr>
              <a:tr h="1432560">
                <a:tc>
                  <a:txBody>
                    <a:bodyPr/>
                    <a:lstStyle/>
                    <a:p>
                      <a:pPr marL="0" indent="0" algn="r" rtl="1">
                        <a:buFontTx/>
                        <a:buNone/>
                      </a:pPr>
                      <a:endParaRPr lang="en-US" sz="1200">
                        <a:solidFill>
                          <a:schemeClr val="tx2"/>
                        </a:solidFill>
                      </a:endParaRPr>
                    </a:p>
                    <a:p>
                      <a:pPr marL="0" indent="0" algn="r" rtl="1">
                        <a:buFontTx/>
                        <a:buNone/>
                      </a:pPr>
                      <a:endParaRPr lang="en-US" sz="1200">
                        <a:solidFill>
                          <a:schemeClr val="tx2"/>
                        </a:solidFill>
                      </a:endParaRPr>
                    </a:p>
                    <a:p>
                      <a:pPr marL="0" indent="0" algn="r" rtl="1">
                        <a:buFontTx/>
                        <a:buNone/>
                      </a:pPr>
                      <a:endParaRPr lang="en-US" sz="1200">
                        <a:solidFill>
                          <a:schemeClr val="tx2"/>
                        </a:solidFill>
                      </a:endParaRPr>
                    </a:p>
                    <a:p>
                      <a:pPr marL="0" indent="0" algn="ctr" rtl="1">
                        <a:buFontTx/>
                        <a:buNone/>
                      </a:pPr>
                      <a:r>
                        <a:rPr lang="ar-SA" sz="1200" b="1">
                          <a:solidFill>
                            <a:schemeClr val="tx2"/>
                          </a:solidFill>
                          <a:latin typeface="+mn-lt"/>
                          <a:ea typeface="+mn-ea"/>
                          <a:cs typeface="+mn-cs"/>
                        </a:rPr>
                        <a:t>تنسيق </a:t>
                      </a:r>
                      <a:r>
                        <a:rPr lang="en-US" sz="1200" b="1">
                          <a:solidFill>
                            <a:schemeClr val="tx2"/>
                          </a:solidFill>
                          <a:latin typeface="+mn-lt"/>
                          <a:ea typeface="+mn-ea"/>
                          <a:cs typeface="+mn-cs"/>
                        </a:rPr>
                        <a:t>JSON</a:t>
                      </a:r>
                      <a:r>
                        <a:rPr lang="ar-SA" sz="1200" b="1">
                          <a:solidFill>
                            <a:schemeClr val="tx2"/>
                          </a:solidFill>
                          <a:latin typeface="+mn-lt"/>
                          <a:ea typeface="+mn-ea"/>
                          <a:cs typeface="+mn-cs"/>
                        </a:rPr>
                        <a:t> وتنسيق </a:t>
                      </a:r>
                      <a:r>
                        <a:rPr lang="en-US" sz="1200" b="1">
                          <a:solidFill>
                            <a:schemeClr val="tx2"/>
                          </a:solidFill>
                          <a:latin typeface="+mn-lt"/>
                          <a:ea typeface="+mn-ea"/>
                          <a:cs typeface="+mn-cs"/>
                        </a:rPr>
                        <a:t>GeoJSON</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الوصول الى البيانات</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معالجة البيانات وتحليلها</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تحويل البيانات إلى صور مرئ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المشاركة والتعاون</a:t>
                      </a:r>
                    </a:p>
                  </a:txBody>
                  <a:tcPr anchor="ctr">
                    <a:lnL w="12700" cap="flat" cmpd="sng" algn="ctr">
                      <a:solidFill>
                        <a:schemeClr val="bg1">
                          <a:lumMod val="75000"/>
                        </a:schemeClr>
                      </a:solid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tc>
                  <a:txBody>
                    <a:bodyPr/>
                    <a:lstStyle/>
                    <a:p>
                      <a:pPr marL="171450" indent="-171450" algn="r" rtl="1">
                        <a:buFont typeface="Arial" panose="020B0604020202020204" pitchFamily="34" charset="0"/>
                        <a:buChar char="•"/>
                      </a:pPr>
                      <a:r>
                        <a:rPr lang="ar-SA" sz="1100">
                          <a:solidFill>
                            <a:schemeClr val="tx2"/>
                          </a:solidFill>
                        </a:rPr>
                        <a:t>كل من تنسيق ترميز الكائنات بلغة جافا سكريبت (</a:t>
                      </a:r>
                      <a:r>
                        <a:rPr lang="en-US" sz="1100">
                          <a:solidFill>
                            <a:schemeClr val="tx2"/>
                          </a:solidFill>
                        </a:rPr>
                        <a:t>JSON</a:t>
                      </a:r>
                      <a:r>
                        <a:rPr lang="ar-SA" sz="1100">
                          <a:solidFill>
                            <a:schemeClr val="tx2"/>
                          </a:solidFill>
                        </a:rPr>
                        <a:t>) ونسخة التنسيق ذاته المصممة لتشمل الأنظمة الجغرافية (</a:t>
                      </a:r>
                      <a:r>
                        <a:rPr lang="en-US" sz="1100">
                          <a:solidFill>
                            <a:schemeClr val="tx2"/>
                          </a:solidFill>
                        </a:rPr>
                        <a:t>GeoJSON</a:t>
                      </a:r>
                      <a:r>
                        <a:rPr lang="ar-SA" sz="1100">
                          <a:solidFill>
                            <a:schemeClr val="tx2"/>
                          </a:solidFill>
                        </a:rPr>
                        <a:t>) يتم استخدامهما </a:t>
                      </a:r>
                      <a:r>
                        <a:rPr lang="ar-SA" sz="1100" b="1">
                          <a:solidFill>
                            <a:schemeClr val="tx2"/>
                          </a:solidFill>
                        </a:rPr>
                        <a:t>لنقل البيانات بين طبقة منطق تسلسل العمل </a:t>
                      </a:r>
                      <a:r>
                        <a:rPr lang="ar-EG" sz="1100" b="1">
                          <a:solidFill>
                            <a:schemeClr val="tx2"/>
                          </a:solidFill>
                        </a:rPr>
                        <a:t>(</a:t>
                      </a:r>
                      <a:r>
                        <a:rPr lang="en-US" sz="1100" b="1">
                          <a:solidFill>
                            <a:schemeClr val="tx2"/>
                          </a:solidFill>
                        </a:rPr>
                        <a:t>business logic layer</a:t>
                      </a:r>
                      <a:r>
                        <a:rPr lang="ar-EG" sz="1100" b="1">
                          <a:solidFill>
                            <a:schemeClr val="tx2"/>
                          </a:solidFill>
                        </a:rPr>
                        <a:t>) </a:t>
                      </a:r>
                      <a:r>
                        <a:rPr lang="ar-SA" sz="1100" b="1">
                          <a:solidFill>
                            <a:schemeClr val="tx2"/>
                          </a:solidFill>
                        </a:rPr>
                        <a:t>وطبقة واجهة المستخدم</a:t>
                      </a:r>
                      <a:r>
                        <a:rPr lang="ar-SA" sz="1100">
                          <a:solidFill>
                            <a:schemeClr val="tx2"/>
                          </a:solidFill>
                        </a:rPr>
                        <a:t>، ويساهم نمط ترميز الكائنات بلغة جاف سكريبت التي يتم إنشاؤها من هذه البيانات في ضمان ارتباط </a:t>
                      </a:r>
                      <a:r>
                        <a:rPr lang="ar-EG" sz="1100">
                          <a:solidFill>
                            <a:schemeClr val="tx2"/>
                          </a:solidFill>
                        </a:rPr>
                        <a:t>مؤثرات عرض البيانات</a:t>
                      </a:r>
                      <a:endParaRPr lang="ar-SA" sz="1100">
                        <a:solidFill>
                          <a:schemeClr val="tx2"/>
                        </a:solidFill>
                      </a:endParaRPr>
                    </a:p>
                    <a:p>
                      <a:pPr marL="171450" indent="-171450" algn="r" rtl="1">
                        <a:buFont typeface="Arial" panose="020B0604020202020204" pitchFamily="34" charset="0"/>
                        <a:buChar char="•"/>
                      </a:pPr>
                      <a:r>
                        <a:rPr lang="ar-SA" sz="1100">
                          <a:solidFill>
                            <a:schemeClr val="tx2"/>
                          </a:solidFill>
                        </a:rPr>
                        <a:t>توفر بوابة «الشبكة الأسترالية للبنية التحتية للأبحاث الحضرية» إمكانية الوصول إلى مجموعات البيانات غير المتجانسة الواردة من جهات ومصادر بيانات متعددة، </a:t>
                      </a:r>
                      <a:r>
                        <a:rPr lang="ar-SA" sz="1100" b="1">
                          <a:solidFill>
                            <a:schemeClr val="tx2"/>
                          </a:solidFill>
                        </a:rPr>
                        <a:t>والتي يتم دمجها بتنسيق مشترك (</a:t>
                      </a:r>
                      <a:r>
                        <a:rPr lang="en-US" sz="1100" b="1">
                          <a:solidFill>
                            <a:schemeClr val="tx2"/>
                          </a:solidFill>
                        </a:rPr>
                        <a:t>GeoJSON</a:t>
                      </a:r>
                      <a:r>
                        <a:rPr lang="ar-SA" sz="1100" b="1">
                          <a:solidFill>
                            <a:schemeClr val="tx2"/>
                          </a:solidFill>
                        </a:rPr>
                        <a:t>)</a:t>
                      </a:r>
                      <a:r>
                        <a:rPr lang="ar-SA" sz="1100">
                          <a:solidFill>
                            <a:schemeClr val="tx2"/>
                          </a:solidFill>
                        </a:rPr>
                        <a:t> ويتم تجميعها في العادة عبر مجموعة قياسية من الحدود الجغرافية</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1527865693"/>
                  </a:ext>
                </a:extLst>
              </a:tr>
              <a:tr h="1432560">
                <a:tc>
                  <a:txBody>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lang="en-US" sz="1200" b="1" kern="1200">
                        <a:solidFill>
                          <a:schemeClr val="tx2"/>
                        </a:solidFill>
                        <a:latin typeface="+mn-lt"/>
                        <a:ea typeface="+mn-ea"/>
                        <a:cs typeface="+mn-cs"/>
                      </a:endParaRPr>
                    </a:p>
                    <a:p>
                      <a:pPr marL="0" marR="0" lvl="0" indent="0" algn="ctr" defTabSz="914400" rtl="1" eaLnBrk="1" fontAlgn="auto" latinLnBrk="0" hangingPunct="1">
                        <a:lnSpc>
                          <a:spcPct val="100000"/>
                        </a:lnSpc>
                        <a:spcBef>
                          <a:spcPts val="0"/>
                        </a:spcBef>
                        <a:spcAft>
                          <a:spcPts val="0"/>
                        </a:spcAft>
                        <a:buClrTx/>
                        <a:buSzTx/>
                        <a:buFontTx/>
                        <a:buNone/>
                        <a:tabLst/>
                        <a:defRPr/>
                      </a:pPr>
                      <a:r>
                        <a:rPr lang="ar-SA" sz="1100" b="1">
                          <a:solidFill>
                            <a:schemeClr val="tx2"/>
                          </a:solidFill>
                          <a:latin typeface="+mn-lt"/>
                          <a:ea typeface="+mn-ea"/>
                          <a:cs typeface="+mn-cs"/>
                        </a:rPr>
                        <a:t>أداة البيانات التعريفية لدى الشبكة الأسترالية للبنية التحتية للأبحاث الحضرية</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100" b="0" i="0" u="none" strike="noStrike" cap="none" normalizeH="0" baseline="0" noProof="0">
                          <a:ln>
                            <a:noFill/>
                          </a:ln>
                          <a:solidFill>
                            <a:srgbClr val="282560"/>
                          </a:solidFill>
                          <a:effectLst/>
                          <a:uLnTx/>
                          <a:uFillTx/>
                          <a:latin typeface="+mn-lt"/>
                          <a:ea typeface="+mn-ea"/>
                          <a:cs typeface="+mn-cs"/>
                        </a:rPr>
                        <a:t>الوصول الى البيانات</a:t>
                      </a:r>
                    </a:p>
                  </a:txBody>
                  <a:tcPr anchor="ctr">
                    <a:lnL w="12700" cap="flat" cmpd="sng" algn="ctr">
                      <a:solidFill>
                        <a:schemeClr val="bg1">
                          <a:lumMod val="75000"/>
                        </a:schemeClr>
                      </a:solidFill>
                      <a:prstDash val="solid"/>
                      <a:round/>
                      <a:headEnd type="none" w="med" len="med"/>
                      <a:tailEnd type="none" w="med" len="med"/>
                    </a:lnL>
                    <a:lnR w="6350" cap="flat" cmpd="sng" algn="ctr">
                      <a:solidFill>
                        <a:schemeClr val="accent4">
                          <a:lumMod val="50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algn="r" rtl="1">
                        <a:buFont typeface="Arial" panose="020B0604020202020204" pitchFamily="34" charset="0"/>
                        <a:buChar char="•"/>
                      </a:pPr>
                      <a:r>
                        <a:rPr lang="ar-SA" sz="1100" dirty="0">
                          <a:solidFill>
                            <a:schemeClr val="tx2"/>
                          </a:solidFill>
                        </a:rPr>
                        <a:t>تتبع </a:t>
                      </a:r>
                      <a:r>
                        <a:rPr lang="ar-EG" sz="1100" dirty="0">
                          <a:solidFill>
                            <a:schemeClr val="tx2"/>
                          </a:solidFill>
                        </a:rPr>
                        <a:t>هذه الأداة </a:t>
                      </a:r>
                      <a:r>
                        <a:rPr lang="ar-SA" sz="1100" b="1" dirty="0">
                          <a:solidFill>
                            <a:schemeClr val="tx2"/>
                          </a:solidFill>
                        </a:rPr>
                        <a:t>نهج البيانات </a:t>
                      </a:r>
                      <a:r>
                        <a:rPr lang="ar-EG" sz="1100" b="1" dirty="0">
                          <a:solidFill>
                            <a:schemeClr val="tx2"/>
                          </a:solidFill>
                        </a:rPr>
                        <a:t>الاتحادية</a:t>
                      </a:r>
                      <a:r>
                        <a:rPr lang="ar-SA" sz="1100" b="1" dirty="0">
                          <a:solidFill>
                            <a:schemeClr val="tx2"/>
                          </a:solidFill>
                        </a:rPr>
                        <a:t> (</a:t>
                      </a:r>
                      <a:r>
                        <a:rPr lang="en-US" sz="1100" b="1" dirty="0">
                          <a:solidFill>
                            <a:schemeClr val="tx2"/>
                          </a:solidFill>
                        </a:rPr>
                        <a:t>federated</a:t>
                      </a:r>
                      <a:r>
                        <a:rPr lang="ar-SA" sz="1100" b="1" dirty="0">
                          <a:solidFill>
                            <a:schemeClr val="tx2"/>
                          </a:solidFill>
                        </a:rPr>
                        <a:t>) وهي </a:t>
                      </a:r>
                      <a:r>
                        <a:rPr lang="ar-EG" sz="1100" b="1" dirty="0">
                          <a:solidFill>
                            <a:schemeClr val="tx2"/>
                          </a:solidFill>
                        </a:rPr>
                        <a:t>عبارة عن </a:t>
                      </a:r>
                      <a:r>
                        <a:rPr lang="ar-SA" sz="1100" b="1" dirty="0">
                          <a:solidFill>
                            <a:schemeClr val="tx2"/>
                          </a:solidFill>
                        </a:rPr>
                        <a:t>أداة شبه آلية</a:t>
                      </a:r>
                      <a:r>
                        <a:rPr lang="ar-SA" sz="1100" dirty="0">
                          <a:solidFill>
                            <a:schemeClr val="tx2"/>
                          </a:solidFill>
                        </a:rPr>
                        <a:t> تتيح جمع العديد من السمات من </a:t>
                      </a:r>
                      <a:r>
                        <a:rPr lang="ar-EG" sz="1100" dirty="0">
                          <a:solidFill>
                            <a:schemeClr val="tx2"/>
                          </a:solidFill>
                        </a:rPr>
                        <a:t>كافة </a:t>
                      </a:r>
                      <a:r>
                        <a:rPr lang="ar-SA" sz="1100" dirty="0">
                          <a:solidFill>
                            <a:schemeClr val="tx2"/>
                          </a:solidFill>
                        </a:rPr>
                        <a:t>مجمعات البيانات (</a:t>
                      </a:r>
                      <a:r>
                        <a:rPr lang="en-US" sz="1100" dirty="0">
                          <a:solidFill>
                            <a:schemeClr val="tx2"/>
                          </a:solidFill>
                        </a:rPr>
                        <a:t>data hubs</a:t>
                      </a:r>
                      <a:r>
                        <a:rPr lang="ar-SA" sz="1100" dirty="0">
                          <a:solidFill>
                            <a:schemeClr val="tx2"/>
                          </a:solidFill>
                        </a:rPr>
                        <a:t>)</a:t>
                      </a:r>
                    </a:p>
                    <a:p>
                      <a:pPr marL="171450" indent="-171450" algn="r" rtl="1">
                        <a:buFont typeface="Arial" panose="020B0604020202020204" pitchFamily="34" charset="0"/>
                        <a:buChar char="•"/>
                      </a:pPr>
                      <a:r>
                        <a:rPr lang="ar-SA" sz="1100" dirty="0">
                          <a:solidFill>
                            <a:schemeClr val="tx2"/>
                          </a:solidFill>
                        </a:rPr>
                        <a:t>يعمل سجل البيانات التعريفية لدى «الشبكة الأسترالية للبنية التحتية للأبحاث الحضرية» على تسجيل المعلومات الأساسية لمجموعات البيانات وعرضها للمستخدمين مثل عنوان مجموعة البيانات، وملخص البيانات، وتفاصيل موفر البيانات، وإشعار حقوق النشر، والترخيص وأي شروط أو معلومات خاصة يقدمها موفر البيانات للمستخدمين النهائيين ليكونوا على دراية بها. ويهدف ذلك إلى إتاحة هذه المعلومات لتكون سهلة الاستخدام قدر الإمكان</a:t>
                      </a:r>
                    </a:p>
                    <a:p>
                      <a:pPr marL="171450" indent="-171450" algn="r" rtl="1">
                        <a:buFont typeface="Arial" panose="020B0604020202020204" pitchFamily="34" charset="0"/>
                        <a:buChar char="•"/>
                      </a:pPr>
                      <a:r>
                        <a:rPr lang="ar-SA" sz="1100" dirty="0">
                          <a:solidFill>
                            <a:schemeClr val="tx2"/>
                          </a:solidFill>
                        </a:rPr>
                        <a:t>نفذت «الشبكة الأسترالية للبنية التحتية للأبحاث الحضرية» أيضاً إحدى حالات «شبكة أرشيف المعرفة الشاملة» في إطار منصة العمل بحيث </a:t>
                      </a:r>
                      <a:r>
                        <a:rPr lang="ar-SA" sz="1100" b="1" dirty="0">
                          <a:solidFill>
                            <a:schemeClr val="tx2"/>
                          </a:solidFill>
                        </a:rPr>
                        <a:t>يمكن البحث في البيانات التعريفية واستكشافها دون الحاجة إلى تسجيل الدخول إلى النظام</a:t>
                      </a:r>
                    </a:p>
                  </a:txBody>
                  <a:tcPr anchor="ctr">
                    <a:lnL w="6350" cap="flat" cmpd="sng" algn="ctr">
                      <a:solidFill>
                        <a:schemeClr val="accent4">
                          <a:lumMod val="50000"/>
                        </a:schemeClr>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1914214"/>
                  </a:ext>
                </a:extLst>
              </a:tr>
            </a:tbl>
          </a:graphicData>
        </a:graphic>
      </p:graphicFrame>
      <p:pic>
        <p:nvPicPr>
          <p:cNvPr id="342" name="Picture 2" descr="GeoJSON (@GeoJSON) | Twitter">
            <a:extLst>
              <a:ext uri="{FF2B5EF4-FFF2-40B4-BE49-F238E27FC236}">
                <a16:creationId xmlns:a16="http://schemas.microsoft.com/office/drawing/2014/main" id="{7611DA6B-2747-4471-8D2A-26433282E11D}"/>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567732" y="2489478"/>
            <a:ext cx="623160" cy="354889"/>
          </a:xfrm>
          <a:prstGeom prst="rect">
            <a:avLst/>
          </a:prstGeom>
          <a:noFill/>
          <a:extLst>
            <a:ext uri="{909E8E84-426E-40DD-AFC4-6F175D3DCCD1}">
              <a14:hiddenFill xmlns:a14="http://schemas.microsoft.com/office/drawing/2010/main">
                <a:solidFill>
                  <a:srgbClr val="FFFFFF"/>
                </a:solidFill>
              </a14:hiddenFill>
            </a:ext>
          </a:extLst>
        </p:spPr>
      </p:pic>
      <p:pic>
        <p:nvPicPr>
          <p:cNvPr id="343" name="Picture 2" descr="AURIN. Australian Urban Research Infrastructure Network">
            <a:extLst>
              <a:ext uri="{FF2B5EF4-FFF2-40B4-BE49-F238E27FC236}">
                <a16:creationId xmlns:a16="http://schemas.microsoft.com/office/drawing/2014/main" id="{1631009D-7447-40AD-928E-A007A2D94F53}"/>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0439524" y="3776343"/>
            <a:ext cx="879576" cy="36942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AURIN. Australian Urban Research Infrastructure Network">
            <a:extLst>
              <a:ext uri="{FF2B5EF4-FFF2-40B4-BE49-F238E27FC236}">
                <a16:creationId xmlns:a16="http://schemas.microsoft.com/office/drawing/2014/main" id="{4CA89158-D6B1-401D-BB71-8EEA191F661C}"/>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Rounded Corners 16">
            <a:extLst>
              <a:ext uri="{FF2B5EF4-FFF2-40B4-BE49-F238E27FC236}">
                <a16:creationId xmlns:a16="http://schemas.microsoft.com/office/drawing/2014/main" id="{DB4C5B92-718E-4144-9A5B-A22D6C59D769}"/>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pic>
        <p:nvPicPr>
          <p:cNvPr id="15" name="Picture 14">
            <a:extLst>
              <a:ext uri="{FF2B5EF4-FFF2-40B4-BE49-F238E27FC236}">
                <a16:creationId xmlns:a16="http://schemas.microsoft.com/office/drawing/2014/main" id="{72BCDBC8-0432-4ED8-AD9F-E83BB680349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9785833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41223F-7659-4530-9C15-38FF1937EF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9"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2241223F-7659-4530-9C15-38FF1937EF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0A2DD03-7475-49FA-BEAA-A613BADFC2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a:latin typeface="DIN Next LT Arabic Medium" panose="020B0603020203050203" pitchFamily="34" charset="-78"/>
              <a:ea typeface="+mj-ea"/>
              <a:cs typeface="+mj-cs"/>
              <a:sym typeface="DIN Next LT Arabic Medium" panose="020B0603020203050203" pitchFamily="34" charset="-78"/>
            </a:endParaRPr>
          </a:p>
        </p:txBody>
      </p:sp>
      <p:sp>
        <p:nvSpPr>
          <p:cNvPr id="5" name="Footer Placeholder 4">
            <a:extLst>
              <a:ext uri="{FF2B5EF4-FFF2-40B4-BE49-F238E27FC236}">
                <a16:creationId xmlns:a16="http://schemas.microsoft.com/office/drawing/2014/main" id="{3441CF44-993A-4152-AE84-37B3D3886D75}"/>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64" name="Slide Number Placeholder 4">
            <a:extLst>
              <a:ext uri="{FF2B5EF4-FFF2-40B4-BE49-F238E27FC236}">
                <a16:creationId xmlns:a16="http://schemas.microsoft.com/office/drawing/2014/main" id="{AECCEA01-C287-4308-AFDD-BBEDEBE479E7}"/>
              </a:ext>
            </a:extLst>
          </p:cNvPr>
          <p:cNvSpPr>
            <a:spLocks noGrp="1"/>
          </p:cNvSpPr>
          <p:nvPr>
            <p:ph type="sldNum" sz="quarter" idx="12"/>
          </p:nvPr>
        </p:nvSpPr>
        <p:spPr/>
        <p:txBody>
          <a:bodyPr/>
          <a:lstStyle/>
          <a:p>
            <a:pPr lvl="0"/>
            <a:fld id="{9FDB499F-DC86-4996-A3C7-FCE8E06389C2}" type="slidenum">
              <a:rPr lang="ar-SA" noProof="0" smtClean="0"/>
              <a:pPr lvl="0"/>
              <a:t>7</a:t>
            </a:fld>
            <a:endParaRPr lang="ar-SA" noProof="0"/>
          </a:p>
        </p:txBody>
      </p:sp>
      <p:sp>
        <p:nvSpPr>
          <p:cNvPr id="7" name="Title 6">
            <a:extLst>
              <a:ext uri="{FF2B5EF4-FFF2-40B4-BE49-F238E27FC236}">
                <a16:creationId xmlns:a16="http://schemas.microsoft.com/office/drawing/2014/main" id="{390C35DB-DE24-48FB-8CC7-213470588F49}"/>
              </a:ext>
            </a:extLst>
          </p:cNvPr>
          <p:cNvSpPr>
            <a:spLocks noGrp="1"/>
          </p:cNvSpPr>
          <p:nvPr>
            <p:ph type="title"/>
          </p:nvPr>
        </p:nvSpPr>
        <p:spPr/>
        <p:txBody>
          <a:bodyPr vert="horz"/>
          <a:lstStyle/>
          <a:p>
            <a:r>
              <a:rPr lang="ar-SA"/>
              <a:t>جمع البيانات ومعالجتها - تنفيذ الخدمات</a:t>
            </a:r>
          </a:p>
        </p:txBody>
      </p:sp>
      <p:sp>
        <p:nvSpPr>
          <p:cNvPr id="127" name="Freeform: Shape 126">
            <a:extLst>
              <a:ext uri="{FF2B5EF4-FFF2-40B4-BE49-F238E27FC236}">
                <a16:creationId xmlns:a16="http://schemas.microsoft.com/office/drawing/2014/main" id="{B249B0C2-3117-49CD-B379-4854A54295D7}"/>
              </a:ext>
            </a:extLst>
          </p:cNvPr>
          <p:cNvSpPr/>
          <p:nvPr/>
        </p:nvSpPr>
        <p:spPr>
          <a:xfrm flipH="1">
            <a:off x="8095391" y="6089161"/>
            <a:ext cx="1589947" cy="325270"/>
          </a:xfrm>
          <a:custGeom>
            <a:avLst/>
            <a:gdLst>
              <a:gd name="connsiteX0" fmla="*/ 947779 w 1589947"/>
              <a:gd name="connsiteY0" fmla="*/ 444 h 328761"/>
              <a:gd name="connsiteX1" fmla="*/ 1031188 w 1589947"/>
              <a:gd name="connsiteY1" fmla="*/ 3347 h 328761"/>
              <a:gd name="connsiteX2" fmla="*/ 1095958 w 1589947"/>
              <a:gd name="connsiteY2" fmla="*/ 17198 h 328761"/>
              <a:gd name="connsiteX3" fmla="*/ 1097891 w 1589947"/>
              <a:gd name="connsiteY3" fmla="*/ 17611 h 328761"/>
              <a:gd name="connsiteX4" fmla="*/ 1304829 w 1589947"/>
              <a:gd name="connsiteY4" fmla="*/ 4132 h 328761"/>
              <a:gd name="connsiteX5" fmla="*/ 1409767 w 1589947"/>
              <a:gd name="connsiteY5" fmla="*/ 40904 h 328761"/>
              <a:gd name="connsiteX6" fmla="*/ 1410346 w 1589947"/>
              <a:gd name="connsiteY6" fmla="*/ 40995 h 328761"/>
              <a:gd name="connsiteX7" fmla="*/ 1493204 w 1589947"/>
              <a:gd name="connsiteY7" fmla="*/ 54013 h 328761"/>
              <a:gd name="connsiteX8" fmla="*/ 1544442 w 1589947"/>
              <a:gd name="connsiteY8" fmla="*/ 76593 h 328761"/>
              <a:gd name="connsiteX9" fmla="*/ 1538414 w 1589947"/>
              <a:gd name="connsiteY9" fmla="*/ 115291 h 328761"/>
              <a:gd name="connsiteX10" fmla="*/ 1582448 w 1589947"/>
              <a:gd name="connsiteY10" fmla="*/ 174461 h 328761"/>
              <a:gd name="connsiteX11" fmla="*/ 1376172 w 1589947"/>
              <a:gd name="connsiteY11" fmla="*/ 226255 h 328761"/>
              <a:gd name="connsiteX12" fmla="*/ 1302329 w 1589947"/>
              <a:gd name="connsiteY12" fmla="*/ 270636 h 328761"/>
              <a:gd name="connsiteX13" fmla="*/ 1050917 w 1589947"/>
              <a:gd name="connsiteY13" fmla="*/ 276010 h 328761"/>
              <a:gd name="connsiteX14" fmla="*/ 871253 w 1589947"/>
              <a:gd name="connsiteY14" fmla="*/ 323356 h 328761"/>
              <a:gd name="connsiteX15" fmla="*/ 607086 w 1589947"/>
              <a:gd name="connsiteY15" fmla="*/ 294456 h 328761"/>
              <a:gd name="connsiteX16" fmla="*/ 521685 w 1589947"/>
              <a:gd name="connsiteY16" fmla="*/ 302886 h 328761"/>
              <a:gd name="connsiteX17" fmla="*/ 495812 w 1589947"/>
              <a:gd name="connsiteY17" fmla="*/ 328758 h 328761"/>
              <a:gd name="connsiteX18" fmla="*/ 495751 w 1589947"/>
              <a:gd name="connsiteY18" fmla="*/ 328761 h 328761"/>
              <a:gd name="connsiteX19" fmla="*/ 507527 w 1589947"/>
              <a:gd name="connsiteY19" fmla="*/ 308045 h 328761"/>
              <a:gd name="connsiteX20" fmla="*/ 514215 w 1589947"/>
              <a:gd name="connsiteY20" fmla="*/ 303623 h 328761"/>
              <a:gd name="connsiteX21" fmla="*/ 499397 w 1589947"/>
              <a:gd name="connsiteY21" fmla="*/ 305086 h 328761"/>
              <a:gd name="connsiteX22" fmla="*/ 214677 w 1589947"/>
              <a:gd name="connsiteY22" fmla="*/ 265902 h 328761"/>
              <a:gd name="connsiteX23" fmla="*/ 42144 w 1589947"/>
              <a:gd name="connsiteY23" fmla="*/ 234127 h 328761"/>
              <a:gd name="connsiteX24" fmla="*/ 79010 w 1589947"/>
              <a:gd name="connsiteY24" fmla="*/ 191237 h 328761"/>
              <a:gd name="connsiteX25" fmla="*/ 1161 w 1589947"/>
              <a:gd name="connsiteY25" fmla="*/ 147232 h 328761"/>
              <a:gd name="connsiteX26" fmla="*/ 143334 w 1589947"/>
              <a:gd name="connsiteY26" fmla="*/ 108119 h 328761"/>
              <a:gd name="connsiteX27" fmla="*/ 144693 w 1589947"/>
              <a:gd name="connsiteY27" fmla="*/ 107088 h 328761"/>
              <a:gd name="connsiteX28" fmla="*/ 144694 w 1589947"/>
              <a:gd name="connsiteY28" fmla="*/ 107088 h 328761"/>
              <a:gd name="connsiteX29" fmla="*/ 208024 w 1589947"/>
              <a:gd name="connsiteY29" fmla="*/ 50921 h 328761"/>
              <a:gd name="connsiteX30" fmla="*/ 516115 w 1589947"/>
              <a:gd name="connsiteY30" fmla="*/ 38089 h 328761"/>
              <a:gd name="connsiteX31" fmla="*/ 516183 w 1589947"/>
              <a:gd name="connsiteY31" fmla="*/ 38068 h 328761"/>
              <a:gd name="connsiteX32" fmla="*/ 577453 w 1589947"/>
              <a:gd name="connsiteY32" fmla="*/ 18769 h 328761"/>
              <a:gd name="connsiteX33" fmla="*/ 826741 w 1589947"/>
              <a:gd name="connsiteY33" fmla="*/ 24768 h 328761"/>
              <a:gd name="connsiteX34" fmla="*/ 827848 w 1589947"/>
              <a:gd name="connsiteY34" fmla="*/ 24405 h 328761"/>
              <a:gd name="connsiteX35" fmla="*/ 876509 w 1589947"/>
              <a:gd name="connsiteY35" fmla="*/ 8444 h 328761"/>
              <a:gd name="connsiteX36" fmla="*/ 947779 w 1589947"/>
              <a:gd name="connsiteY36" fmla="*/ 444 h 328761"/>
              <a:gd name="connsiteX0" fmla="*/ 947779 w 1589947"/>
              <a:gd name="connsiteY0" fmla="*/ 444 h 328758"/>
              <a:gd name="connsiteX1" fmla="*/ 1031188 w 1589947"/>
              <a:gd name="connsiteY1" fmla="*/ 3347 h 328758"/>
              <a:gd name="connsiteX2" fmla="*/ 1095958 w 1589947"/>
              <a:gd name="connsiteY2" fmla="*/ 17198 h 328758"/>
              <a:gd name="connsiteX3" fmla="*/ 1097891 w 1589947"/>
              <a:gd name="connsiteY3" fmla="*/ 17611 h 328758"/>
              <a:gd name="connsiteX4" fmla="*/ 1304829 w 1589947"/>
              <a:gd name="connsiteY4" fmla="*/ 4132 h 328758"/>
              <a:gd name="connsiteX5" fmla="*/ 1409767 w 1589947"/>
              <a:gd name="connsiteY5" fmla="*/ 40904 h 328758"/>
              <a:gd name="connsiteX6" fmla="*/ 1410346 w 1589947"/>
              <a:gd name="connsiteY6" fmla="*/ 40995 h 328758"/>
              <a:gd name="connsiteX7" fmla="*/ 1493204 w 1589947"/>
              <a:gd name="connsiteY7" fmla="*/ 54013 h 328758"/>
              <a:gd name="connsiteX8" fmla="*/ 1544442 w 1589947"/>
              <a:gd name="connsiteY8" fmla="*/ 76593 h 328758"/>
              <a:gd name="connsiteX9" fmla="*/ 1538414 w 1589947"/>
              <a:gd name="connsiteY9" fmla="*/ 115291 h 328758"/>
              <a:gd name="connsiteX10" fmla="*/ 1582448 w 1589947"/>
              <a:gd name="connsiteY10" fmla="*/ 174461 h 328758"/>
              <a:gd name="connsiteX11" fmla="*/ 1376172 w 1589947"/>
              <a:gd name="connsiteY11" fmla="*/ 226255 h 328758"/>
              <a:gd name="connsiteX12" fmla="*/ 1302329 w 1589947"/>
              <a:gd name="connsiteY12" fmla="*/ 270636 h 328758"/>
              <a:gd name="connsiteX13" fmla="*/ 1050917 w 1589947"/>
              <a:gd name="connsiteY13" fmla="*/ 276010 h 328758"/>
              <a:gd name="connsiteX14" fmla="*/ 871253 w 1589947"/>
              <a:gd name="connsiteY14" fmla="*/ 323356 h 328758"/>
              <a:gd name="connsiteX15" fmla="*/ 607086 w 1589947"/>
              <a:gd name="connsiteY15" fmla="*/ 294456 h 328758"/>
              <a:gd name="connsiteX16" fmla="*/ 521685 w 1589947"/>
              <a:gd name="connsiteY16" fmla="*/ 302886 h 328758"/>
              <a:gd name="connsiteX17" fmla="*/ 495812 w 1589947"/>
              <a:gd name="connsiteY17" fmla="*/ 328758 h 328758"/>
              <a:gd name="connsiteX18" fmla="*/ 507527 w 1589947"/>
              <a:gd name="connsiteY18" fmla="*/ 308045 h 328758"/>
              <a:gd name="connsiteX19" fmla="*/ 514215 w 1589947"/>
              <a:gd name="connsiteY19" fmla="*/ 303623 h 328758"/>
              <a:gd name="connsiteX20" fmla="*/ 499397 w 1589947"/>
              <a:gd name="connsiteY20" fmla="*/ 305086 h 328758"/>
              <a:gd name="connsiteX21" fmla="*/ 214677 w 1589947"/>
              <a:gd name="connsiteY21" fmla="*/ 265902 h 328758"/>
              <a:gd name="connsiteX22" fmla="*/ 42144 w 1589947"/>
              <a:gd name="connsiteY22" fmla="*/ 234127 h 328758"/>
              <a:gd name="connsiteX23" fmla="*/ 79010 w 1589947"/>
              <a:gd name="connsiteY23" fmla="*/ 191237 h 328758"/>
              <a:gd name="connsiteX24" fmla="*/ 1161 w 1589947"/>
              <a:gd name="connsiteY24" fmla="*/ 147232 h 328758"/>
              <a:gd name="connsiteX25" fmla="*/ 143334 w 1589947"/>
              <a:gd name="connsiteY25" fmla="*/ 108119 h 328758"/>
              <a:gd name="connsiteX26" fmla="*/ 144693 w 1589947"/>
              <a:gd name="connsiteY26" fmla="*/ 107088 h 328758"/>
              <a:gd name="connsiteX27" fmla="*/ 144694 w 1589947"/>
              <a:gd name="connsiteY27" fmla="*/ 107088 h 328758"/>
              <a:gd name="connsiteX28" fmla="*/ 208024 w 1589947"/>
              <a:gd name="connsiteY28" fmla="*/ 50921 h 328758"/>
              <a:gd name="connsiteX29" fmla="*/ 516115 w 1589947"/>
              <a:gd name="connsiteY29" fmla="*/ 38089 h 328758"/>
              <a:gd name="connsiteX30" fmla="*/ 516183 w 1589947"/>
              <a:gd name="connsiteY30" fmla="*/ 38068 h 328758"/>
              <a:gd name="connsiteX31" fmla="*/ 577453 w 1589947"/>
              <a:gd name="connsiteY31" fmla="*/ 18769 h 328758"/>
              <a:gd name="connsiteX32" fmla="*/ 826741 w 1589947"/>
              <a:gd name="connsiteY32" fmla="*/ 24768 h 328758"/>
              <a:gd name="connsiteX33" fmla="*/ 827848 w 1589947"/>
              <a:gd name="connsiteY33" fmla="*/ 24405 h 328758"/>
              <a:gd name="connsiteX34" fmla="*/ 876509 w 1589947"/>
              <a:gd name="connsiteY34" fmla="*/ 8444 h 328758"/>
              <a:gd name="connsiteX35" fmla="*/ 947779 w 1589947"/>
              <a:gd name="connsiteY35" fmla="*/ 444 h 328758"/>
              <a:gd name="connsiteX0" fmla="*/ 947779 w 1589947"/>
              <a:gd name="connsiteY0" fmla="*/ 444 h 325270"/>
              <a:gd name="connsiteX1" fmla="*/ 1031188 w 1589947"/>
              <a:gd name="connsiteY1" fmla="*/ 3347 h 325270"/>
              <a:gd name="connsiteX2" fmla="*/ 1095958 w 1589947"/>
              <a:gd name="connsiteY2" fmla="*/ 17198 h 325270"/>
              <a:gd name="connsiteX3" fmla="*/ 1097891 w 1589947"/>
              <a:gd name="connsiteY3" fmla="*/ 17611 h 325270"/>
              <a:gd name="connsiteX4" fmla="*/ 1304829 w 1589947"/>
              <a:gd name="connsiteY4" fmla="*/ 4132 h 325270"/>
              <a:gd name="connsiteX5" fmla="*/ 1409767 w 1589947"/>
              <a:gd name="connsiteY5" fmla="*/ 40904 h 325270"/>
              <a:gd name="connsiteX6" fmla="*/ 1410346 w 1589947"/>
              <a:gd name="connsiteY6" fmla="*/ 40995 h 325270"/>
              <a:gd name="connsiteX7" fmla="*/ 1493204 w 1589947"/>
              <a:gd name="connsiteY7" fmla="*/ 54013 h 325270"/>
              <a:gd name="connsiteX8" fmla="*/ 1544442 w 1589947"/>
              <a:gd name="connsiteY8" fmla="*/ 76593 h 325270"/>
              <a:gd name="connsiteX9" fmla="*/ 1538414 w 1589947"/>
              <a:gd name="connsiteY9" fmla="*/ 115291 h 325270"/>
              <a:gd name="connsiteX10" fmla="*/ 1582448 w 1589947"/>
              <a:gd name="connsiteY10" fmla="*/ 174461 h 325270"/>
              <a:gd name="connsiteX11" fmla="*/ 1376172 w 1589947"/>
              <a:gd name="connsiteY11" fmla="*/ 226255 h 325270"/>
              <a:gd name="connsiteX12" fmla="*/ 1302329 w 1589947"/>
              <a:gd name="connsiteY12" fmla="*/ 270636 h 325270"/>
              <a:gd name="connsiteX13" fmla="*/ 1050917 w 1589947"/>
              <a:gd name="connsiteY13" fmla="*/ 276010 h 325270"/>
              <a:gd name="connsiteX14" fmla="*/ 871253 w 1589947"/>
              <a:gd name="connsiteY14" fmla="*/ 323356 h 325270"/>
              <a:gd name="connsiteX15" fmla="*/ 607086 w 1589947"/>
              <a:gd name="connsiteY15" fmla="*/ 294456 h 325270"/>
              <a:gd name="connsiteX16" fmla="*/ 521685 w 1589947"/>
              <a:gd name="connsiteY16" fmla="*/ 302886 h 325270"/>
              <a:gd name="connsiteX17" fmla="*/ 507527 w 1589947"/>
              <a:gd name="connsiteY17" fmla="*/ 308045 h 325270"/>
              <a:gd name="connsiteX18" fmla="*/ 514215 w 1589947"/>
              <a:gd name="connsiteY18" fmla="*/ 303623 h 325270"/>
              <a:gd name="connsiteX19" fmla="*/ 499397 w 1589947"/>
              <a:gd name="connsiteY19" fmla="*/ 305086 h 325270"/>
              <a:gd name="connsiteX20" fmla="*/ 214677 w 1589947"/>
              <a:gd name="connsiteY20" fmla="*/ 265902 h 325270"/>
              <a:gd name="connsiteX21" fmla="*/ 42144 w 1589947"/>
              <a:gd name="connsiteY21" fmla="*/ 234127 h 325270"/>
              <a:gd name="connsiteX22" fmla="*/ 79010 w 1589947"/>
              <a:gd name="connsiteY22" fmla="*/ 191237 h 325270"/>
              <a:gd name="connsiteX23" fmla="*/ 1161 w 1589947"/>
              <a:gd name="connsiteY23" fmla="*/ 147232 h 325270"/>
              <a:gd name="connsiteX24" fmla="*/ 143334 w 1589947"/>
              <a:gd name="connsiteY24" fmla="*/ 108119 h 325270"/>
              <a:gd name="connsiteX25" fmla="*/ 144693 w 1589947"/>
              <a:gd name="connsiteY25" fmla="*/ 107088 h 325270"/>
              <a:gd name="connsiteX26" fmla="*/ 144694 w 1589947"/>
              <a:gd name="connsiteY26" fmla="*/ 107088 h 325270"/>
              <a:gd name="connsiteX27" fmla="*/ 208024 w 1589947"/>
              <a:gd name="connsiteY27" fmla="*/ 50921 h 325270"/>
              <a:gd name="connsiteX28" fmla="*/ 516115 w 1589947"/>
              <a:gd name="connsiteY28" fmla="*/ 38089 h 325270"/>
              <a:gd name="connsiteX29" fmla="*/ 516183 w 1589947"/>
              <a:gd name="connsiteY29" fmla="*/ 38068 h 325270"/>
              <a:gd name="connsiteX30" fmla="*/ 577453 w 1589947"/>
              <a:gd name="connsiteY30" fmla="*/ 18769 h 325270"/>
              <a:gd name="connsiteX31" fmla="*/ 826741 w 1589947"/>
              <a:gd name="connsiteY31" fmla="*/ 24768 h 325270"/>
              <a:gd name="connsiteX32" fmla="*/ 827848 w 1589947"/>
              <a:gd name="connsiteY32" fmla="*/ 24405 h 325270"/>
              <a:gd name="connsiteX33" fmla="*/ 876509 w 1589947"/>
              <a:gd name="connsiteY33" fmla="*/ 8444 h 325270"/>
              <a:gd name="connsiteX34" fmla="*/ 947779 w 1589947"/>
              <a:gd name="connsiteY34" fmla="*/ 444 h 325270"/>
              <a:gd name="connsiteX0" fmla="*/ 947779 w 1589947"/>
              <a:gd name="connsiteY0" fmla="*/ 444 h 325270"/>
              <a:gd name="connsiteX1" fmla="*/ 1031188 w 1589947"/>
              <a:gd name="connsiteY1" fmla="*/ 3347 h 325270"/>
              <a:gd name="connsiteX2" fmla="*/ 1095958 w 1589947"/>
              <a:gd name="connsiteY2" fmla="*/ 17198 h 325270"/>
              <a:gd name="connsiteX3" fmla="*/ 1097891 w 1589947"/>
              <a:gd name="connsiteY3" fmla="*/ 17611 h 325270"/>
              <a:gd name="connsiteX4" fmla="*/ 1304829 w 1589947"/>
              <a:gd name="connsiteY4" fmla="*/ 4132 h 325270"/>
              <a:gd name="connsiteX5" fmla="*/ 1409767 w 1589947"/>
              <a:gd name="connsiteY5" fmla="*/ 40904 h 325270"/>
              <a:gd name="connsiteX6" fmla="*/ 1410346 w 1589947"/>
              <a:gd name="connsiteY6" fmla="*/ 40995 h 325270"/>
              <a:gd name="connsiteX7" fmla="*/ 1493204 w 1589947"/>
              <a:gd name="connsiteY7" fmla="*/ 54013 h 325270"/>
              <a:gd name="connsiteX8" fmla="*/ 1544442 w 1589947"/>
              <a:gd name="connsiteY8" fmla="*/ 76593 h 325270"/>
              <a:gd name="connsiteX9" fmla="*/ 1538414 w 1589947"/>
              <a:gd name="connsiteY9" fmla="*/ 115291 h 325270"/>
              <a:gd name="connsiteX10" fmla="*/ 1582448 w 1589947"/>
              <a:gd name="connsiteY10" fmla="*/ 174461 h 325270"/>
              <a:gd name="connsiteX11" fmla="*/ 1376172 w 1589947"/>
              <a:gd name="connsiteY11" fmla="*/ 226255 h 325270"/>
              <a:gd name="connsiteX12" fmla="*/ 1302329 w 1589947"/>
              <a:gd name="connsiteY12" fmla="*/ 270636 h 325270"/>
              <a:gd name="connsiteX13" fmla="*/ 1050917 w 1589947"/>
              <a:gd name="connsiteY13" fmla="*/ 276010 h 325270"/>
              <a:gd name="connsiteX14" fmla="*/ 871253 w 1589947"/>
              <a:gd name="connsiteY14" fmla="*/ 323356 h 325270"/>
              <a:gd name="connsiteX15" fmla="*/ 607086 w 1589947"/>
              <a:gd name="connsiteY15" fmla="*/ 294456 h 325270"/>
              <a:gd name="connsiteX16" fmla="*/ 521685 w 1589947"/>
              <a:gd name="connsiteY16" fmla="*/ 302886 h 325270"/>
              <a:gd name="connsiteX17" fmla="*/ 507527 w 1589947"/>
              <a:gd name="connsiteY17" fmla="*/ 308045 h 325270"/>
              <a:gd name="connsiteX18" fmla="*/ 499397 w 1589947"/>
              <a:gd name="connsiteY18" fmla="*/ 305086 h 325270"/>
              <a:gd name="connsiteX19" fmla="*/ 214677 w 1589947"/>
              <a:gd name="connsiteY19" fmla="*/ 265902 h 325270"/>
              <a:gd name="connsiteX20" fmla="*/ 42144 w 1589947"/>
              <a:gd name="connsiteY20" fmla="*/ 234127 h 325270"/>
              <a:gd name="connsiteX21" fmla="*/ 79010 w 1589947"/>
              <a:gd name="connsiteY21" fmla="*/ 191237 h 325270"/>
              <a:gd name="connsiteX22" fmla="*/ 1161 w 1589947"/>
              <a:gd name="connsiteY22" fmla="*/ 147232 h 325270"/>
              <a:gd name="connsiteX23" fmla="*/ 143334 w 1589947"/>
              <a:gd name="connsiteY23" fmla="*/ 108119 h 325270"/>
              <a:gd name="connsiteX24" fmla="*/ 144693 w 1589947"/>
              <a:gd name="connsiteY24" fmla="*/ 107088 h 325270"/>
              <a:gd name="connsiteX25" fmla="*/ 144694 w 1589947"/>
              <a:gd name="connsiteY25" fmla="*/ 107088 h 325270"/>
              <a:gd name="connsiteX26" fmla="*/ 208024 w 1589947"/>
              <a:gd name="connsiteY26" fmla="*/ 50921 h 325270"/>
              <a:gd name="connsiteX27" fmla="*/ 516115 w 1589947"/>
              <a:gd name="connsiteY27" fmla="*/ 38089 h 325270"/>
              <a:gd name="connsiteX28" fmla="*/ 516183 w 1589947"/>
              <a:gd name="connsiteY28" fmla="*/ 38068 h 325270"/>
              <a:gd name="connsiteX29" fmla="*/ 577453 w 1589947"/>
              <a:gd name="connsiteY29" fmla="*/ 18769 h 325270"/>
              <a:gd name="connsiteX30" fmla="*/ 826741 w 1589947"/>
              <a:gd name="connsiteY30" fmla="*/ 24768 h 325270"/>
              <a:gd name="connsiteX31" fmla="*/ 827848 w 1589947"/>
              <a:gd name="connsiteY31" fmla="*/ 24405 h 325270"/>
              <a:gd name="connsiteX32" fmla="*/ 876509 w 1589947"/>
              <a:gd name="connsiteY32" fmla="*/ 8444 h 325270"/>
              <a:gd name="connsiteX33" fmla="*/ 947779 w 1589947"/>
              <a:gd name="connsiteY33" fmla="*/ 444 h 325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89947" h="325270">
                <a:moveTo>
                  <a:pt x="947779" y="444"/>
                </a:moveTo>
                <a:cubicBezTo>
                  <a:pt x="976522" y="-693"/>
                  <a:pt x="1005247" y="380"/>
                  <a:pt x="1031188" y="3347"/>
                </a:cubicBezTo>
                <a:lnTo>
                  <a:pt x="1095958" y="17198"/>
                </a:lnTo>
                <a:lnTo>
                  <a:pt x="1097891" y="17611"/>
                </a:lnTo>
                <a:cubicBezTo>
                  <a:pt x="1148688" y="949"/>
                  <a:pt x="1232713" y="-4523"/>
                  <a:pt x="1304829" y="4132"/>
                </a:cubicBezTo>
                <a:cubicBezTo>
                  <a:pt x="1359779" y="10725"/>
                  <a:pt x="1399182" y="24528"/>
                  <a:pt x="1409767" y="40904"/>
                </a:cubicBezTo>
                <a:lnTo>
                  <a:pt x="1410346" y="40995"/>
                </a:lnTo>
                <a:lnTo>
                  <a:pt x="1493204" y="54013"/>
                </a:lnTo>
                <a:cubicBezTo>
                  <a:pt x="1516360" y="60148"/>
                  <a:pt x="1534150" y="67862"/>
                  <a:pt x="1544442" y="76593"/>
                </a:cubicBezTo>
                <a:cubicBezTo>
                  <a:pt x="1559402" y="89266"/>
                  <a:pt x="1557270" y="103032"/>
                  <a:pt x="1538414" y="115291"/>
                </a:cubicBezTo>
                <a:cubicBezTo>
                  <a:pt x="1584764" y="132105"/>
                  <a:pt x="1600973" y="153900"/>
                  <a:pt x="1582448" y="174461"/>
                </a:cubicBezTo>
                <a:cubicBezTo>
                  <a:pt x="1557821" y="201796"/>
                  <a:pt x="1476296" y="222266"/>
                  <a:pt x="1376172" y="226255"/>
                </a:cubicBezTo>
                <a:cubicBezTo>
                  <a:pt x="1375694" y="243317"/>
                  <a:pt x="1348752" y="259498"/>
                  <a:pt x="1302329" y="270636"/>
                </a:cubicBezTo>
                <a:cubicBezTo>
                  <a:pt x="1231794" y="287562"/>
                  <a:pt x="1129906" y="289737"/>
                  <a:pt x="1050917" y="276010"/>
                </a:cubicBezTo>
                <a:cubicBezTo>
                  <a:pt x="1025371" y="299589"/>
                  <a:pt x="956968" y="317614"/>
                  <a:pt x="871253" y="323356"/>
                </a:cubicBezTo>
                <a:cubicBezTo>
                  <a:pt x="770247" y="330122"/>
                  <a:pt x="664830" y="318592"/>
                  <a:pt x="607086" y="294456"/>
                </a:cubicBezTo>
                <a:lnTo>
                  <a:pt x="521685" y="302886"/>
                </a:lnTo>
                <a:lnTo>
                  <a:pt x="507527" y="308045"/>
                </a:lnTo>
                <a:lnTo>
                  <a:pt x="499397" y="305086"/>
                </a:lnTo>
                <a:cubicBezTo>
                  <a:pt x="388405" y="309320"/>
                  <a:pt x="274002" y="294842"/>
                  <a:pt x="214677" y="265902"/>
                </a:cubicBezTo>
                <a:cubicBezTo>
                  <a:pt x="136975" y="268439"/>
                  <a:pt x="64014" y="255005"/>
                  <a:pt x="42144" y="234127"/>
                </a:cubicBezTo>
                <a:cubicBezTo>
                  <a:pt x="26302" y="219023"/>
                  <a:pt x="40306" y="202721"/>
                  <a:pt x="79010" y="191237"/>
                </a:cubicBezTo>
                <a:cubicBezTo>
                  <a:pt x="24097" y="182228"/>
                  <a:pt x="-6485" y="164941"/>
                  <a:pt x="1161" y="147232"/>
                </a:cubicBezTo>
                <a:cubicBezTo>
                  <a:pt x="10129" y="126498"/>
                  <a:pt x="69160" y="110257"/>
                  <a:pt x="143334" y="108119"/>
                </a:cubicBezTo>
                <a:lnTo>
                  <a:pt x="144693" y="107088"/>
                </a:lnTo>
                <a:lnTo>
                  <a:pt x="144694" y="107088"/>
                </a:lnTo>
                <a:cubicBezTo>
                  <a:pt x="134733" y="86670"/>
                  <a:pt x="157962" y="66079"/>
                  <a:pt x="208024" y="50921"/>
                </a:cubicBezTo>
                <a:cubicBezTo>
                  <a:pt x="287124" y="26981"/>
                  <a:pt x="415366" y="21645"/>
                  <a:pt x="516115" y="38089"/>
                </a:cubicBezTo>
                <a:lnTo>
                  <a:pt x="516183" y="38068"/>
                </a:lnTo>
                <a:lnTo>
                  <a:pt x="577453" y="18769"/>
                </a:lnTo>
                <a:cubicBezTo>
                  <a:pt x="651566" y="4464"/>
                  <a:pt x="756665" y="5521"/>
                  <a:pt x="826741" y="24768"/>
                </a:cubicBezTo>
                <a:lnTo>
                  <a:pt x="827848" y="24405"/>
                </a:lnTo>
                <a:lnTo>
                  <a:pt x="876509" y="8444"/>
                </a:lnTo>
                <a:cubicBezTo>
                  <a:pt x="897294" y="4266"/>
                  <a:pt x="921664" y="1475"/>
                  <a:pt x="947779" y="444"/>
                </a:cubicBez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1"/>
            <a:endParaRPr lang="en-US"/>
          </a:p>
        </p:txBody>
      </p:sp>
      <p:sp>
        <p:nvSpPr>
          <p:cNvPr id="4" name="Rectangle 3">
            <a:extLst>
              <a:ext uri="{FF2B5EF4-FFF2-40B4-BE49-F238E27FC236}">
                <a16:creationId xmlns:a16="http://schemas.microsoft.com/office/drawing/2014/main" id="{7353E55A-8034-49D3-A4A1-F4793EE2A4C8}"/>
              </a:ext>
            </a:extLst>
          </p:cNvPr>
          <p:cNvSpPr/>
          <p:nvPr/>
        </p:nvSpPr>
        <p:spPr>
          <a:xfrm flipH="1">
            <a:off x="3965227" y="1843509"/>
            <a:ext cx="2733467" cy="1334262"/>
          </a:xfrm>
          <a:prstGeom prst="rect">
            <a:avLst/>
          </a:prstGeom>
          <a:solidFill>
            <a:srgbClr val="EC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sz="1000"/>
          </a:p>
        </p:txBody>
      </p:sp>
      <p:sp>
        <p:nvSpPr>
          <p:cNvPr id="34" name="Rectangle 33">
            <a:extLst>
              <a:ext uri="{FF2B5EF4-FFF2-40B4-BE49-F238E27FC236}">
                <a16:creationId xmlns:a16="http://schemas.microsoft.com/office/drawing/2014/main" id="{84758CEA-9C7A-4A02-89DE-D11BB7984A99}"/>
              </a:ext>
            </a:extLst>
          </p:cNvPr>
          <p:cNvSpPr/>
          <p:nvPr/>
        </p:nvSpPr>
        <p:spPr>
          <a:xfrm flipH="1">
            <a:off x="6698693" y="1843510"/>
            <a:ext cx="1052165" cy="1334262"/>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horz" tIns="91440" rtlCol="0" anchor="ctr"/>
          <a:lstStyle/>
          <a:p>
            <a:pPr lvl="0" algn="r" rtl="1">
              <a:defRPr/>
            </a:pPr>
            <a:r>
              <a:rPr lang="ar-SA" sz="1000" b="1">
                <a:solidFill>
                  <a:schemeClr val="tx1"/>
                </a:solidFill>
              </a:rPr>
              <a:t>مصادقة المستخدم</a:t>
            </a:r>
          </a:p>
          <a:p>
            <a:pPr marL="0" marR="0" lvl="0" indent="0" algn="r" defTabSz="914400" rtl="1" eaLnBrk="1" fontAlgn="auto" latinLnBrk="0" hangingPunct="1">
              <a:lnSpc>
                <a:spcPct val="100000"/>
              </a:lnSpc>
              <a:spcBef>
                <a:spcPts val="0"/>
              </a:spcBef>
              <a:spcAft>
                <a:spcPts val="0"/>
              </a:spcAft>
              <a:buClrTx/>
              <a:buSzTx/>
              <a:buFontTx/>
              <a:buNone/>
              <a:tabLst/>
              <a:defRPr/>
            </a:pPr>
            <a:r>
              <a:rPr lang="ar-SA" sz="900">
                <a:solidFill>
                  <a:srgbClr val="282560"/>
                </a:solidFill>
              </a:rPr>
              <a:t>من خلال «اتحاد الوصول الأسترالي» باستخدام البروتوكول الخفيف لتغيير بيانات الدليل (</a:t>
            </a:r>
            <a:r>
              <a:rPr lang="en-US" sz="900">
                <a:solidFill>
                  <a:srgbClr val="282560"/>
                </a:solidFill>
              </a:rPr>
              <a:t>LDAP</a:t>
            </a:r>
            <a:r>
              <a:rPr lang="ar-SA" sz="900">
                <a:solidFill>
                  <a:srgbClr val="282560"/>
                </a:solidFill>
              </a:rPr>
              <a:t>)</a:t>
            </a:r>
          </a:p>
        </p:txBody>
      </p:sp>
      <p:sp>
        <p:nvSpPr>
          <p:cNvPr id="35" name="Rectangle 34">
            <a:extLst>
              <a:ext uri="{FF2B5EF4-FFF2-40B4-BE49-F238E27FC236}">
                <a16:creationId xmlns:a16="http://schemas.microsoft.com/office/drawing/2014/main" id="{A8621595-980C-45C8-A7BD-3C625F0E0A95}"/>
              </a:ext>
            </a:extLst>
          </p:cNvPr>
          <p:cNvSpPr/>
          <p:nvPr/>
        </p:nvSpPr>
        <p:spPr>
          <a:xfrm rot="16200000" flipH="1">
            <a:off x="9972361" y="1762005"/>
            <a:ext cx="227297" cy="1413964"/>
          </a:xfrm>
          <a:prstGeom prst="rect">
            <a:avLst/>
          </a:prstGeom>
          <a:solidFill>
            <a:srgbClr val="ECECF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rtl="1"/>
            <a:r>
              <a:rPr lang="ar-SA" sz="1000">
                <a:solidFill>
                  <a:schemeClr val="tx1"/>
                </a:solidFill>
              </a:rPr>
              <a:t>المستخدم</a:t>
            </a:r>
          </a:p>
        </p:txBody>
      </p:sp>
      <p:sp>
        <p:nvSpPr>
          <p:cNvPr id="39" name="Rectangle 38">
            <a:extLst>
              <a:ext uri="{FF2B5EF4-FFF2-40B4-BE49-F238E27FC236}">
                <a16:creationId xmlns:a16="http://schemas.microsoft.com/office/drawing/2014/main" id="{81B5F935-621C-4092-87CF-03B9960E1E61}"/>
              </a:ext>
            </a:extLst>
          </p:cNvPr>
          <p:cNvSpPr/>
          <p:nvPr/>
        </p:nvSpPr>
        <p:spPr>
          <a:xfrm rot="16200000" flipH="1">
            <a:off x="9915322" y="2589911"/>
            <a:ext cx="341375" cy="1413965"/>
          </a:xfrm>
          <a:prstGeom prst="rect">
            <a:avLst/>
          </a:prstGeom>
          <a:solidFill>
            <a:srgbClr val="ECECF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r" rtl="1"/>
            <a:r>
              <a:rPr lang="ar-SA" sz="1000" b="1">
                <a:solidFill>
                  <a:schemeClr val="tx1"/>
                </a:solidFill>
              </a:rPr>
              <a:t>التصنيف الجغرافي</a:t>
            </a:r>
          </a:p>
          <a:p>
            <a:pPr algn="r" rtl="1"/>
            <a:r>
              <a:rPr lang="ar-SA" sz="900" i="1">
                <a:solidFill>
                  <a:schemeClr val="tx1"/>
                </a:solidFill>
              </a:rPr>
              <a:t>قاعدة بيانات «كاوتش دي بي»</a:t>
            </a:r>
          </a:p>
        </p:txBody>
      </p:sp>
      <p:sp>
        <p:nvSpPr>
          <p:cNvPr id="42" name="Rectangle 41">
            <a:extLst>
              <a:ext uri="{FF2B5EF4-FFF2-40B4-BE49-F238E27FC236}">
                <a16:creationId xmlns:a16="http://schemas.microsoft.com/office/drawing/2014/main" id="{44ACD443-B5C1-49A5-8359-DF8083B6B641}"/>
              </a:ext>
            </a:extLst>
          </p:cNvPr>
          <p:cNvSpPr/>
          <p:nvPr/>
        </p:nvSpPr>
        <p:spPr>
          <a:xfrm rot="16200000" flipH="1">
            <a:off x="9977517" y="2875667"/>
            <a:ext cx="197795" cy="1413965"/>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rtl="1"/>
            <a:r>
              <a:rPr lang="ar-SA" sz="600">
                <a:solidFill>
                  <a:schemeClr val="tx1"/>
                </a:solidFill>
              </a:rPr>
              <a:t>واجهة برمجة التطبيقات لنقل الحالة التمثيلية</a:t>
            </a:r>
            <a:endParaRPr lang="ar-SA" sz="1000">
              <a:solidFill>
                <a:schemeClr val="tx1"/>
              </a:solidFill>
            </a:endParaRPr>
          </a:p>
        </p:txBody>
      </p:sp>
      <p:sp>
        <p:nvSpPr>
          <p:cNvPr id="44" name="Rectangle 43">
            <a:extLst>
              <a:ext uri="{FF2B5EF4-FFF2-40B4-BE49-F238E27FC236}">
                <a16:creationId xmlns:a16="http://schemas.microsoft.com/office/drawing/2014/main" id="{E629EACD-58F7-48B1-BF8D-64781EEFDB5D}"/>
              </a:ext>
            </a:extLst>
          </p:cNvPr>
          <p:cNvSpPr/>
          <p:nvPr/>
        </p:nvSpPr>
        <p:spPr>
          <a:xfrm rot="5400000">
            <a:off x="5860344" y="2350228"/>
            <a:ext cx="197795" cy="2464843"/>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rtl="1"/>
            <a:r>
              <a:rPr lang="ar-SA" sz="1000">
                <a:solidFill>
                  <a:schemeClr val="tx1"/>
                </a:solidFill>
              </a:rPr>
              <a:t>واجهة برمجة التطبيقات لنقل الحالة التمثيلية</a:t>
            </a:r>
          </a:p>
        </p:txBody>
      </p:sp>
      <p:sp>
        <p:nvSpPr>
          <p:cNvPr id="45" name="Rectangle 44">
            <a:extLst>
              <a:ext uri="{FF2B5EF4-FFF2-40B4-BE49-F238E27FC236}">
                <a16:creationId xmlns:a16="http://schemas.microsoft.com/office/drawing/2014/main" id="{C63A551F-A54E-4F92-917C-60F7BD27C86C}"/>
              </a:ext>
            </a:extLst>
          </p:cNvPr>
          <p:cNvSpPr/>
          <p:nvPr/>
        </p:nvSpPr>
        <p:spPr>
          <a:xfrm rot="16200000" flipH="1">
            <a:off x="5547450" y="2860920"/>
            <a:ext cx="823584" cy="2464843"/>
          </a:xfrm>
          <a:prstGeom prst="rect">
            <a:avLst/>
          </a:prstGeom>
          <a:solidFill>
            <a:srgbClr val="ECECF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r" rtl="1"/>
            <a:r>
              <a:rPr lang="ar-SA" sz="1000" b="1">
                <a:solidFill>
                  <a:schemeClr val="tx1"/>
                </a:solidFill>
              </a:rPr>
              <a:t>منطق تسلسل العمل</a:t>
            </a:r>
          </a:p>
          <a:p>
            <a:pPr algn="r" rtl="1"/>
            <a:r>
              <a:rPr lang="ar-SA" sz="1000" i="1">
                <a:solidFill>
                  <a:schemeClr val="tx1"/>
                </a:solidFill>
              </a:rPr>
              <a:t>إطار عمل «سبرينج»</a:t>
            </a:r>
          </a:p>
        </p:txBody>
      </p:sp>
      <p:sp>
        <p:nvSpPr>
          <p:cNvPr id="47" name="Rectangle 46">
            <a:extLst>
              <a:ext uri="{FF2B5EF4-FFF2-40B4-BE49-F238E27FC236}">
                <a16:creationId xmlns:a16="http://schemas.microsoft.com/office/drawing/2014/main" id="{9F35DF13-6C00-443F-B8E9-63766C52EC3E}"/>
              </a:ext>
            </a:extLst>
          </p:cNvPr>
          <p:cNvSpPr/>
          <p:nvPr/>
        </p:nvSpPr>
        <p:spPr>
          <a:xfrm rot="16200000" flipH="1">
            <a:off x="8429325" y="4671786"/>
            <a:ext cx="817212" cy="1948259"/>
          </a:xfrm>
          <a:prstGeom prst="rect">
            <a:avLst/>
          </a:prstGeom>
          <a:solidFill>
            <a:srgbClr val="ECECF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45720" rIns="0" bIns="45720" rtlCol="0" anchor="t"/>
          <a:lstStyle/>
          <a:p>
            <a:pPr algn="r" rtl="1"/>
            <a:r>
              <a:rPr lang="ar-SA" sz="1000" b="1">
                <a:solidFill>
                  <a:schemeClr val="tx1"/>
                </a:solidFill>
              </a:rPr>
              <a:t>خدمة موفر البيانات</a:t>
            </a:r>
          </a:p>
          <a:p>
            <a:pPr algn="r" rtl="1"/>
            <a:r>
              <a:rPr lang="ar-SA" sz="900" i="1">
                <a:solidFill>
                  <a:schemeClr val="tx1"/>
                </a:solidFill>
              </a:rPr>
              <a:t>لغتي البرمجة «جافا» وإطار عمل «سبرينج»</a:t>
            </a:r>
          </a:p>
        </p:txBody>
      </p:sp>
      <p:sp>
        <p:nvSpPr>
          <p:cNvPr id="49" name="Rectangle 48">
            <a:extLst>
              <a:ext uri="{FF2B5EF4-FFF2-40B4-BE49-F238E27FC236}">
                <a16:creationId xmlns:a16="http://schemas.microsoft.com/office/drawing/2014/main" id="{84FD68BC-4293-4320-838B-0B2F37AC5DCC}"/>
              </a:ext>
            </a:extLst>
          </p:cNvPr>
          <p:cNvSpPr/>
          <p:nvPr/>
        </p:nvSpPr>
        <p:spPr>
          <a:xfrm rot="16200000" flipH="1">
            <a:off x="6586563" y="4478930"/>
            <a:ext cx="431497" cy="1948259"/>
          </a:xfrm>
          <a:prstGeom prst="rect">
            <a:avLst/>
          </a:prstGeom>
          <a:solidFill>
            <a:srgbClr val="ECECF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45720" rIns="0" bIns="45720" rtlCol="0" anchor="t"/>
          <a:lstStyle/>
          <a:p>
            <a:pPr algn="r" rtl="1"/>
            <a:r>
              <a:rPr lang="ar-SA" sz="1000" b="1">
                <a:solidFill>
                  <a:schemeClr val="tx1"/>
                </a:solidFill>
              </a:rPr>
              <a:t>تسجيل البيانات</a:t>
            </a:r>
          </a:p>
          <a:p>
            <a:pPr algn="r" rtl="1"/>
            <a:r>
              <a:rPr lang="ar-SA" sz="900" i="1">
                <a:solidFill>
                  <a:schemeClr val="tx1"/>
                </a:solidFill>
              </a:rPr>
              <a:t>قاعدة بيانات روبي / مونجو دي بي (</a:t>
            </a:r>
            <a:r>
              <a:rPr lang="en-US" sz="900" i="1">
                <a:solidFill>
                  <a:schemeClr val="tx1"/>
                </a:solidFill>
              </a:rPr>
              <a:t>Ruby/MongoDB</a:t>
            </a:r>
            <a:r>
              <a:rPr lang="ar-SA" sz="900" i="1">
                <a:solidFill>
                  <a:schemeClr val="tx1"/>
                </a:solidFill>
              </a:rPr>
              <a:t>)</a:t>
            </a:r>
          </a:p>
        </p:txBody>
      </p:sp>
      <p:sp>
        <p:nvSpPr>
          <p:cNvPr id="51" name="Rectangle 50">
            <a:extLst>
              <a:ext uri="{FF2B5EF4-FFF2-40B4-BE49-F238E27FC236}">
                <a16:creationId xmlns:a16="http://schemas.microsoft.com/office/drawing/2014/main" id="{AE76A563-F1D8-42C8-AA40-6332EF755206}"/>
              </a:ext>
            </a:extLst>
          </p:cNvPr>
          <p:cNvSpPr/>
          <p:nvPr/>
        </p:nvSpPr>
        <p:spPr>
          <a:xfrm rot="16200000" flipH="1">
            <a:off x="4550944" y="4478932"/>
            <a:ext cx="431497" cy="1948259"/>
          </a:xfrm>
          <a:prstGeom prst="rect">
            <a:avLst/>
          </a:prstGeom>
          <a:solidFill>
            <a:srgbClr val="ECECF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45720" rIns="0" bIns="45720" rtlCol="0" anchor="t"/>
          <a:lstStyle/>
          <a:p>
            <a:pPr algn="r" rtl="1"/>
            <a:r>
              <a:rPr lang="ar-SA" sz="1000" b="1">
                <a:solidFill>
                  <a:schemeClr val="tx1"/>
                </a:solidFill>
              </a:rPr>
              <a:t>المعلومات الجغرافية (</a:t>
            </a:r>
            <a:r>
              <a:rPr lang="en-US" sz="1000" b="1">
                <a:solidFill>
                  <a:schemeClr val="tx1"/>
                </a:solidFill>
              </a:rPr>
              <a:t>GeoInfo</a:t>
            </a:r>
            <a:r>
              <a:rPr lang="ar-SA" sz="1000" b="1">
                <a:solidFill>
                  <a:schemeClr val="tx1"/>
                </a:solidFill>
              </a:rPr>
              <a:t>)</a:t>
            </a:r>
          </a:p>
          <a:p>
            <a:pPr algn="r" rtl="1"/>
            <a:r>
              <a:rPr lang="ar-SA" sz="900" i="1">
                <a:solidFill>
                  <a:schemeClr val="tx1"/>
                </a:solidFill>
              </a:rPr>
              <a:t>بيئة التشغيل «نود جي إس» (</a:t>
            </a:r>
            <a:r>
              <a:rPr lang="en-US" sz="900" i="1">
                <a:solidFill>
                  <a:schemeClr val="tx1"/>
                </a:solidFill>
              </a:rPr>
              <a:t>NodeJS</a:t>
            </a:r>
            <a:r>
              <a:rPr lang="ar-SA" sz="900" i="1">
                <a:solidFill>
                  <a:schemeClr val="tx1"/>
                </a:solidFill>
              </a:rPr>
              <a:t>)</a:t>
            </a:r>
          </a:p>
        </p:txBody>
      </p:sp>
      <p:sp>
        <p:nvSpPr>
          <p:cNvPr id="53" name="Rectangle 52">
            <a:extLst>
              <a:ext uri="{FF2B5EF4-FFF2-40B4-BE49-F238E27FC236}">
                <a16:creationId xmlns:a16="http://schemas.microsoft.com/office/drawing/2014/main" id="{170394DC-BDA8-4C13-9EC0-FDBC289A13E5}"/>
              </a:ext>
            </a:extLst>
          </p:cNvPr>
          <p:cNvSpPr/>
          <p:nvPr/>
        </p:nvSpPr>
        <p:spPr>
          <a:xfrm rot="16200000" flipH="1">
            <a:off x="2322468" y="4671792"/>
            <a:ext cx="817210" cy="1948259"/>
          </a:xfrm>
          <a:prstGeom prst="rect">
            <a:avLst/>
          </a:prstGeom>
          <a:solidFill>
            <a:srgbClr val="ECECF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45720" rIns="0" bIns="45720" rtlCol="0" anchor="t"/>
          <a:lstStyle/>
          <a:p>
            <a:pPr algn="r" rtl="1"/>
            <a:r>
              <a:rPr lang="ar-SA" sz="1000" b="1">
                <a:solidFill>
                  <a:schemeClr val="tx1"/>
                </a:solidFill>
              </a:rPr>
              <a:t>بيئة سير العمل</a:t>
            </a:r>
          </a:p>
          <a:p>
            <a:pPr algn="r" rtl="1"/>
            <a:r>
              <a:rPr lang="ar-SA" sz="700" i="1">
                <a:solidFill>
                  <a:schemeClr val="tx1"/>
                </a:solidFill>
              </a:rPr>
              <a:t>لغة البرمجة جروفي (</a:t>
            </a:r>
            <a:r>
              <a:rPr lang="en-US" sz="700" i="1">
                <a:solidFill>
                  <a:schemeClr val="tx1"/>
                </a:solidFill>
              </a:rPr>
              <a:t>Groovy</a:t>
            </a:r>
            <a:r>
              <a:rPr lang="ar-SA" sz="700" i="1">
                <a:solidFill>
                  <a:schemeClr val="tx1"/>
                </a:solidFill>
              </a:rPr>
              <a:t>)/ لغة البرمجة جافا (</a:t>
            </a:r>
            <a:r>
              <a:rPr lang="en-US" sz="700" i="1">
                <a:solidFill>
                  <a:schemeClr val="tx1"/>
                </a:solidFill>
              </a:rPr>
              <a:t>Java</a:t>
            </a:r>
            <a:r>
              <a:rPr lang="ar-SA" sz="700" i="1">
                <a:solidFill>
                  <a:schemeClr val="tx1"/>
                </a:solidFill>
              </a:rPr>
              <a:t>)/ مجموعة إدارة العمليات 3 (</a:t>
            </a:r>
            <a:r>
              <a:rPr lang="en-US" sz="700" i="1">
                <a:solidFill>
                  <a:schemeClr val="tx1"/>
                </a:solidFill>
              </a:rPr>
              <a:t>OMS3</a:t>
            </a:r>
            <a:r>
              <a:rPr lang="ar-SA" sz="700" i="1">
                <a:solidFill>
                  <a:schemeClr val="tx1"/>
                </a:solidFill>
              </a:rPr>
              <a:t>)</a:t>
            </a:r>
          </a:p>
        </p:txBody>
      </p:sp>
      <p:sp>
        <p:nvSpPr>
          <p:cNvPr id="54" name="Rectangle 53">
            <a:extLst>
              <a:ext uri="{FF2B5EF4-FFF2-40B4-BE49-F238E27FC236}">
                <a16:creationId xmlns:a16="http://schemas.microsoft.com/office/drawing/2014/main" id="{0AB91EC2-00F1-48A9-85DB-9148E2AB7613}"/>
              </a:ext>
            </a:extLst>
          </p:cNvPr>
          <p:cNvSpPr/>
          <p:nvPr/>
        </p:nvSpPr>
        <p:spPr>
          <a:xfrm flipH="1">
            <a:off x="9737986" y="3809572"/>
            <a:ext cx="237865" cy="910572"/>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algn="ctr"/>
            <a:r>
              <a:rPr lang="ar-SA" sz="700">
                <a:solidFill>
                  <a:schemeClr val="tx1"/>
                </a:solidFill>
              </a:rPr>
              <a:t>واجهة برمجة التطبيقات لنقل الحالة التمثيلية</a:t>
            </a:r>
          </a:p>
        </p:txBody>
      </p:sp>
      <p:sp>
        <p:nvSpPr>
          <p:cNvPr id="55" name="Rectangle 54">
            <a:extLst>
              <a:ext uri="{FF2B5EF4-FFF2-40B4-BE49-F238E27FC236}">
                <a16:creationId xmlns:a16="http://schemas.microsoft.com/office/drawing/2014/main" id="{5B7E852B-02A3-41D7-9CD0-2F96B63E4F02}"/>
              </a:ext>
            </a:extLst>
          </p:cNvPr>
          <p:cNvSpPr/>
          <p:nvPr/>
        </p:nvSpPr>
        <p:spPr>
          <a:xfrm flipH="1">
            <a:off x="9977349" y="3809572"/>
            <a:ext cx="806049" cy="910572"/>
          </a:xfrm>
          <a:prstGeom prst="rect">
            <a:avLst/>
          </a:prstGeom>
          <a:solidFill>
            <a:srgbClr val="ECECF8"/>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algn="ctr" rtl="1"/>
            <a:r>
              <a:rPr lang="ar-SA" sz="900" b="1">
                <a:solidFill>
                  <a:schemeClr val="tx1"/>
                </a:solidFill>
              </a:rPr>
              <a:t>مخزن البيانات</a:t>
            </a:r>
          </a:p>
          <a:p>
            <a:pPr algn="ctr" rtl="1"/>
            <a:r>
              <a:rPr lang="ar-SA" sz="900" i="1">
                <a:solidFill>
                  <a:schemeClr val="tx1"/>
                </a:solidFill>
              </a:rPr>
              <a:t>قاعدة بيانات «كاوتش دي بي»</a:t>
            </a:r>
          </a:p>
        </p:txBody>
      </p:sp>
      <p:sp>
        <p:nvSpPr>
          <p:cNvPr id="57" name="Rectangle 56">
            <a:extLst>
              <a:ext uri="{FF2B5EF4-FFF2-40B4-BE49-F238E27FC236}">
                <a16:creationId xmlns:a16="http://schemas.microsoft.com/office/drawing/2014/main" id="{1A22D61F-0533-4713-91EA-34C7F767FE99}"/>
              </a:ext>
            </a:extLst>
          </p:cNvPr>
          <p:cNvSpPr/>
          <p:nvPr/>
        </p:nvSpPr>
        <p:spPr>
          <a:xfrm>
            <a:off x="1985364" y="3809572"/>
            <a:ext cx="237865" cy="910572"/>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algn="ctr" rtl="1"/>
            <a:r>
              <a:rPr lang="ar-SA" sz="700">
                <a:solidFill>
                  <a:schemeClr val="tx1"/>
                </a:solidFill>
              </a:rPr>
              <a:t>واجهة برمجة</a:t>
            </a:r>
            <a:r>
              <a:rPr lang="en-US" sz="700">
                <a:solidFill>
                  <a:schemeClr val="tx1"/>
                </a:solidFill>
              </a:rPr>
              <a:t> </a:t>
            </a:r>
            <a:r>
              <a:rPr lang="ar-SA" sz="700">
                <a:solidFill>
                  <a:schemeClr val="tx1"/>
                </a:solidFill>
              </a:rPr>
              <a:t>التطبيقات لنقل الحالة التمثيلية</a:t>
            </a:r>
          </a:p>
        </p:txBody>
      </p:sp>
      <p:sp>
        <p:nvSpPr>
          <p:cNvPr id="58" name="Rectangle 57">
            <a:extLst>
              <a:ext uri="{FF2B5EF4-FFF2-40B4-BE49-F238E27FC236}">
                <a16:creationId xmlns:a16="http://schemas.microsoft.com/office/drawing/2014/main" id="{ABF56F43-05B2-4275-B339-9547B1D6EB87}"/>
              </a:ext>
            </a:extLst>
          </p:cNvPr>
          <p:cNvSpPr/>
          <p:nvPr/>
        </p:nvSpPr>
        <p:spPr>
          <a:xfrm>
            <a:off x="1153425" y="3809572"/>
            <a:ext cx="830442" cy="910572"/>
          </a:xfrm>
          <a:prstGeom prst="rect">
            <a:avLst/>
          </a:prstGeom>
          <a:solidFill>
            <a:srgbClr val="ECECF8"/>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algn="ctr" rtl="1"/>
            <a:r>
              <a:rPr lang="ar-SA" sz="1000" b="1">
                <a:solidFill>
                  <a:schemeClr val="tx1"/>
                </a:solidFill>
              </a:rPr>
              <a:t>المحاسبة</a:t>
            </a:r>
          </a:p>
          <a:p>
            <a:pPr algn="ctr" rtl="1"/>
            <a:r>
              <a:rPr lang="ar-SA" sz="1000" i="1">
                <a:solidFill>
                  <a:schemeClr val="tx1"/>
                </a:solidFill>
              </a:rPr>
              <a:t>المصادقة</a:t>
            </a:r>
          </a:p>
        </p:txBody>
      </p:sp>
      <p:sp>
        <p:nvSpPr>
          <p:cNvPr id="46" name="Rectangle 45">
            <a:extLst>
              <a:ext uri="{FF2B5EF4-FFF2-40B4-BE49-F238E27FC236}">
                <a16:creationId xmlns:a16="http://schemas.microsoft.com/office/drawing/2014/main" id="{069CB43D-1D28-4BA8-B92F-7787BF30A702}"/>
              </a:ext>
            </a:extLst>
          </p:cNvPr>
          <p:cNvSpPr/>
          <p:nvPr/>
        </p:nvSpPr>
        <p:spPr>
          <a:xfrm rot="16200000" flipH="1">
            <a:off x="8703868" y="4129109"/>
            <a:ext cx="268127" cy="1948259"/>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ar-SA" sz="900">
                <a:solidFill>
                  <a:schemeClr val="tx1"/>
                </a:solidFill>
              </a:rPr>
              <a:t>واجهة برمجة التطبيقات لنقل الحالة التمثيلية</a:t>
            </a:r>
          </a:p>
        </p:txBody>
      </p:sp>
      <p:sp>
        <p:nvSpPr>
          <p:cNvPr id="48" name="Rectangle 47">
            <a:extLst>
              <a:ext uri="{FF2B5EF4-FFF2-40B4-BE49-F238E27FC236}">
                <a16:creationId xmlns:a16="http://schemas.microsoft.com/office/drawing/2014/main" id="{EDF61D71-9DFA-41A0-8E45-EDF28E42AE2D}"/>
              </a:ext>
            </a:extLst>
          </p:cNvPr>
          <p:cNvSpPr/>
          <p:nvPr/>
        </p:nvSpPr>
        <p:spPr>
          <a:xfrm rot="16200000" flipH="1">
            <a:off x="6668248" y="4129111"/>
            <a:ext cx="268127" cy="1948259"/>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ar-SA" sz="900">
                <a:solidFill>
                  <a:schemeClr val="tx1"/>
                </a:solidFill>
              </a:rPr>
              <a:t>واجهة برمجة التطبيقات لنقل الحالة التمثيلية</a:t>
            </a:r>
          </a:p>
        </p:txBody>
      </p:sp>
      <p:sp>
        <p:nvSpPr>
          <p:cNvPr id="50" name="Rectangle 49">
            <a:extLst>
              <a:ext uri="{FF2B5EF4-FFF2-40B4-BE49-F238E27FC236}">
                <a16:creationId xmlns:a16="http://schemas.microsoft.com/office/drawing/2014/main" id="{23FD62A7-5639-49C4-9D69-38BDE30A6AD7}"/>
              </a:ext>
            </a:extLst>
          </p:cNvPr>
          <p:cNvSpPr/>
          <p:nvPr/>
        </p:nvSpPr>
        <p:spPr>
          <a:xfrm rot="16200000" flipH="1">
            <a:off x="4632628" y="4129113"/>
            <a:ext cx="268127" cy="1948259"/>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rtl="1"/>
            <a:r>
              <a:rPr lang="ar-SA" sz="1000">
                <a:solidFill>
                  <a:schemeClr val="tx1"/>
                </a:solidFill>
              </a:rPr>
              <a:t>نقل الحالة التمثيلية (</a:t>
            </a:r>
            <a:r>
              <a:rPr lang="en-US" sz="1000">
                <a:solidFill>
                  <a:schemeClr val="tx1"/>
                </a:solidFill>
              </a:rPr>
              <a:t>REST</a:t>
            </a:r>
            <a:r>
              <a:rPr lang="ar-SA" sz="1000">
                <a:solidFill>
                  <a:schemeClr val="tx1"/>
                </a:solidFill>
              </a:rPr>
              <a:t>)</a:t>
            </a:r>
          </a:p>
        </p:txBody>
      </p:sp>
      <p:sp>
        <p:nvSpPr>
          <p:cNvPr id="52" name="Rectangle 51">
            <a:extLst>
              <a:ext uri="{FF2B5EF4-FFF2-40B4-BE49-F238E27FC236}">
                <a16:creationId xmlns:a16="http://schemas.microsoft.com/office/drawing/2014/main" id="{94DF149F-6013-46F6-A848-45CE8B8396CE}"/>
              </a:ext>
            </a:extLst>
          </p:cNvPr>
          <p:cNvSpPr/>
          <p:nvPr/>
        </p:nvSpPr>
        <p:spPr>
          <a:xfrm rot="16200000" flipH="1">
            <a:off x="2597010" y="4129116"/>
            <a:ext cx="268127" cy="1948259"/>
          </a:xfrm>
          <a:prstGeom prst="rect">
            <a:avLst/>
          </a:prstGeom>
          <a:solidFill>
            <a:schemeClr val="bg1"/>
          </a:solidFill>
          <a:ln w="127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ar-SA" sz="900">
                <a:solidFill>
                  <a:schemeClr val="tx1"/>
                </a:solidFill>
              </a:rPr>
              <a:t>واجهة برمجة التطبيقات لنقل الحالة التمثيلية</a:t>
            </a:r>
          </a:p>
        </p:txBody>
      </p:sp>
      <p:sp>
        <p:nvSpPr>
          <p:cNvPr id="59" name="Rectangle 58">
            <a:extLst>
              <a:ext uri="{FF2B5EF4-FFF2-40B4-BE49-F238E27FC236}">
                <a16:creationId xmlns:a16="http://schemas.microsoft.com/office/drawing/2014/main" id="{506AD287-1C90-46E4-934F-D27F6343A0E7}"/>
              </a:ext>
            </a:extLst>
          </p:cNvPr>
          <p:cNvSpPr/>
          <p:nvPr/>
        </p:nvSpPr>
        <p:spPr>
          <a:xfrm flipH="1">
            <a:off x="4103582" y="2305434"/>
            <a:ext cx="1933885" cy="7420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rtl="1"/>
            <a:r>
              <a:rPr lang="ar-SA" sz="1000"/>
              <a:t>صفحة الويب</a:t>
            </a:r>
          </a:p>
          <a:p>
            <a:pPr algn="r" rtl="1"/>
            <a:r>
              <a:rPr lang="ar-SA" sz="800" i="1"/>
              <a:t>لغة ترميز النص الفائق (</a:t>
            </a:r>
            <a:r>
              <a:rPr lang="en-US" sz="800" i="1"/>
              <a:t>HTML</a:t>
            </a:r>
            <a:r>
              <a:rPr lang="ar-SA" sz="800" i="1"/>
              <a:t>) ولغة جافا سكريبت (</a:t>
            </a:r>
            <a:r>
              <a:rPr lang="en-US" sz="800" i="1"/>
              <a:t>JS</a:t>
            </a:r>
            <a:r>
              <a:rPr lang="ar-SA" sz="800" i="1"/>
              <a:t>) وصفحات الطرز المتراصة (</a:t>
            </a:r>
            <a:r>
              <a:rPr lang="en-US" sz="800" i="1"/>
              <a:t>CSS</a:t>
            </a:r>
            <a:r>
              <a:rPr lang="ar-SA" sz="800" i="1"/>
              <a:t>) وترميز الكائنات بلغة جافا سكريبت (</a:t>
            </a:r>
            <a:r>
              <a:rPr lang="en-US" sz="800" i="1"/>
              <a:t>JSON</a:t>
            </a:r>
            <a:r>
              <a:rPr lang="ar-SA" sz="800" i="1"/>
              <a:t>)</a:t>
            </a:r>
          </a:p>
        </p:txBody>
      </p:sp>
      <p:sp>
        <p:nvSpPr>
          <p:cNvPr id="61" name="TextBox 60">
            <a:extLst>
              <a:ext uri="{FF2B5EF4-FFF2-40B4-BE49-F238E27FC236}">
                <a16:creationId xmlns:a16="http://schemas.microsoft.com/office/drawing/2014/main" id="{DE1BA069-B390-41F0-B52C-1F4CC82AEAFA}"/>
              </a:ext>
            </a:extLst>
          </p:cNvPr>
          <p:cNvSpPr txBox="1"/>
          <p:nvPr/>
        </p:nvSpPr>
        <p:spPr>
          <a:xfrm flipH="1">
            <a:off x="5451243" y="1888116"/>
            <a:ext cx="1211040" cy="553998"/>
          </a:xfrm>
          <a:prstGeom prst="rect">
            <a:avLst/>
          </a:prstGeom>
          <a:noFill/>
        </p:spPr>
        <p:txBody>
          <a:bodyPr wrap="square">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1000" b="1" i="0" u="none" strike="noStrike" cap="none" normalizeH="0" baseline="0" noProof="0">
                <a:ln>
                  <a:noFill/>
                </a:ln>
                <a:effectLst/>
                <a:uLnTx/>
                <a:uFillTx/>
                <a:latin typeface="DIN Next LT Arabic"/>
                <a:ea typeface="+mn-ea"/>
                <a:cs typeface="+mn-cs"/>
              </a:rPr>
              <a:t>البوابة</a:t>
            </a:r>
          </a:p>
          <a:p>
            <a:pPr marL="0" marR="0" lvl="0" indent="0" algn="r" defTabSz="914400" rtl="1" eaLnBrk="1" fontAlgn="auto" latinLnBrk="0" hangingPunct="1">
              <a:lnSpc>
                <a:spcPct val="100000"/>
              </a:lnSpc>
              <a:spcBef>
                <a:spcPts val="0"/>
              </a:spcBef>
              <a:spcAft>
                <a:spcPts val="0"/>
              </a:spcAft>
              <a:buClrTx/>
              <a:buSzTx/>
              <a:buFontTx/>
              <a:buNone/>
              <a:tabLst/>
              <a:defRPr/>
            </a:pPr>
            <a:r>
              <a:rPr lang="ar-SA" sz="1000" i="1">
                <a:latin typeface="DIN Next LT Arabic"/>
                <a:ea typeface="+mn-ea"/>
                <a:cs typeface="+mn-cs"/>
              </a:rPr>
              <a:t>تومكات (</a:t>
            </a:r>
            <a:r>
              <a:rPr lang="en-US" sz="1000" i="1">
                <a:latin typeface="DIN Next LT Arabic"/>
                <a:ea typeface="+mn-ea"/>
                <a:cs typeface="+mn-cs"/>
              </a:rPr>
              <a:t>Tomcat</a:t>
            </a:r>
            <a:r>
              <a:rPr lang="ar-SA" sz="1000" i="1">
                <a:latin typeface="DIN Next LT Arabic"/>
                <a:ea typeface="+mn-ea"/>
                <a:cs typeface="+mn-cs"/>
              </a:rPr>
              <a:t>)</a:t>
            </a:r>
            <a:br>
              <a:rPr kumimoji="0" lang="ar-SA" sz="1000" b="0" i="0" u="none" strike="noStrike" cap="none" normalizeH="0" baseline="0" noProof="0">
                <a:ln>
                  <a:noFill/>
                </a:ln>
                <a:effectLst/>
                <a:uLnTx/>
                <a:uFillTx/>
                <a:latin typeface="DIN Next LT Arabic"/>
                <a:ea typeface="+mn-ea"/>
                <a:cs typeface="+mn-cs"/>
              </a:rPr>
            </a:br>
            <a:endParaRPr kumimoji="0" lang="ar-SA" sz="1000" b="0" i="0" u="none" strike="noStrike" cap="none" normalizeH="0" baseline="0" noProof="0">
              <a:ln>
                <a:noFill/>
              </a:ln>
              <a:effectLst/>
              <a:uLnTx/>
              <a:uFillTx/>
              <a:latin typeface="DIN Next LT Arabic"/>
              <a:ea typeface="+mn-ea"/>
              <a:cs typeface="+mn-cs"/>
            </a:endParaRPr>
          </a:p>
        </p:txBody>
      </p:sp>
      <p:cxnSp>
        <p:nvCxnSpPr>
          <p:cNvPr id="65" name="Straight Arrow Connector 64">
            <a:extLst>
              <a:ext uri="{FF2B5EF4-FFF2-40B4-BE49-F238E27FC236}">
                <a16:creationId xmlns:a16="http://schemas.microsoft.com/office/drawing/2014/main" id="{4E52CD1D-B0AE-4C06-B8F2-8DA1C1F67162}"/>
              </a:ext>
            </a:extLst>
          </p:cNvPr>
          <p:cNvCxnSpPr>
            <a:cxnSpLocks/>
          </p:cNvCxnSpPr>
          <p:nvPr/>
        </p:nvCxnSpPr>
        <p:spPr>
          <a:xfrm flipH="1">
            <a:off x="7794109" y="2468986"/>
            <a:ext cx="1589346" cy="0"/>
          </a:xfrm>
          <a:prstGeom prst="straightConnector1">
            <a:avLst/>
          </a:prstGeom>
          <a:ln w="22225">
            <a:solidFill>
              <a:schemeClr val="bg1">
                <a:lumMod val="75000"/>
              </a:schemeClr>
            </a:solidFill>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0C22DDD2-3240-4F29-9234-2F232E75D581}"/>
              </a:ext>
            </a:extLst>
          </p:cNvPr>
          <p:cNvCxnSpPr>
            <a:cxnSpLocks/>
          </p:cNvCxnSpPr>
          <p:nvPr/>
        </p:nvCxnSpPr>
        <p:spPr>
          <a:xfrm flipH="1">
            <a:off x="5070525" y="2867822"/>
            <a:ext cx="0" cy="599760"/>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5F440270-0E88-4AC2-9EC2-D5928E33BF75}"/>
              </a:ext>
            </a:extLst>
          </p:cNvPr>
          <p:cNvCxnSpPr>
            <a:cxnSpLocks/>
          </p:cNvCxnSpPr>
          <p:nvPr/>
        </p:nvCxnSpPr>
        <p:spPr>
          <a:xfrm flipH="1">
            <a:off x="7217854" y="3582650"/>
            <a:ext cx="2106563" cy="0"/>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5BAB5B68-C8CA-4B64-9D4E-9BD048C45B16}"/>
              </a:ext>
            </a:extLst>
          </p:cNvPr>
          <p:cNvCxnSpPr>
            <a:cxnSpLocks/>
          </p:cNvCxnSpPr>
          <p:nvPr/>
        </p:nvCxnSpPr>
        <p:spPr>
          <a:xfrm flipH="1">
            <a:off x="7228562" y="4264858"/>
            <a:ext cx="2509424" cy="0"/>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644160E5-81AB-4EF3-B9A5-A7B465AF68AA}"/>
              </a:ext>
            </a:extLst>
          </p:cNvPr>
          <p:cNvCxnSpPr>
            <a:cxnSpLocks/>
          </p:cNvCxnSpPr>
          <p:nvPr/>
        </p:nvCxnSpPr>
        <p:spPr>
          <a:xfrm flipH="1">
            <a:off x="2223229" y="4264858"/>
            <a:ext cx="2509424" cy="0"/>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79E7A51-10A1-4ECA-9E49-75777BC3B72B}"/>
              </a:ext>
            </a:extLst>
          </p:cNvPr>
          <p:cNvSpPr/>
          <p:nvPr/>
        </p:nvSpPr>
        <p:spPr>
          <a:xfrm flipH="1">
            <a:off x="8719274" y="5609873"/>
            <a:ext cx="1021718" cy="3762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ar-SA" sz="600" i="1">
              <a:solidFill>
                <a:schemeClr val="tx1"/>
              </a:solidFill>
            </a:endParaRPr>
          </a:p>
        </p:txBody>
      </p:sp>
      <p:sp>
        <p:nvSpPr>
          <p:cNvPr id="87" name="Rectangle 86">
            <a:extLst>
              <a:ext uri="{FF2B5EF4-FFF2-40B4-BE49-F238E27FC236}">
                <a16:creationId xmlns:a16="http://schemas.microsoft.com/office/drawing/2014/main" id="{D1F33D5A-2669-4418-9F4F-0087445DEBC2}"/>
              </a:ext>
            </a:extLst>
          </p:cNvPr>
          <p:cNvSpPr/>
          <p:nvPr/>
        </p:nvSpPr>
        <p:spPr>
          <a:xfrm flipH="1">
            <a:off x="7941138" y="5609873"/>
            <a:ext cx="741239" cy="3762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endParaRPr lang="ar-SA" sz="700" i="1">
              <a:solidFill>
                <a:schemeClr val="tx1"/>
              </a:solidFill>
            </a:endParaRPr>
          </a:p>
        </p:txBody>
      </p:sp>
      <p:sp>
        <p:nvSpPr>
          <p:cNvPr id="89" name="Rectangle 88">
            <a:extLst>
              <a:ext uri="{FF2B5EF4-FFF2-40B4-BE49-F238E27FC236}">
                <a16:creationId xmlns:a16="http://schemas.microsoft.com/office/drawing/2014/main" id="{762C5D13-7978-44D4-B0A0-3D704B53AB04}"/>
              </a:ext>
            </a:extLst>
          </p:cNvPr>
          <p:cNvSpPr/>
          <p:nvPr/>
        </p:nvSpPr>
        <p:spPr>
          <a:xfrm flipH="1">
            <a:off x="1851867" y="5609873"/>
            <a:ext cx="1758414" cy="3762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r" rtl="1"/>
            <a:r>
              <a:rPr lang="ar-SA" sz="1000">
                <a:solidFill>
                  <a:schemeClr val="tx1"/>
                </a:solidFill>
              </a:rPr>
              <a:t>مكتبة العمليات التحليلية</a:t>
            </a:r>
          </a:p>
          <a:p>
            <a:pPr algn="r" rtl="1"/>
            <a:r>
              <a:rPr lang="ar-SA" sz="1000" i="1">
                <a:solidFill>
                  <a:schemeClr val="tx1"/>
                </a:solidFill>
              </a:rPr>
              <a:t>لغتي البرمجة «جافا» و«آر»</a:t>
            </a:r>
          </a:p>
        </p:txBody>
      </p:sp>
      <p:sp>
        <p:nvSpPr>
          <p:cNvPr id="90" name="TextBox 89">
            <a:extLst>
              <a:ext uri="{FF2B5EF4-FFF2-40B4-BE49-F238E27FC236}">
                <a16:creationId xmlns:a16="http://schemas.microsoft.com/office/drawing/2014/main" id="{99138082-9BD5-408A-AB73-E02A14496722}"/>
              </a:ext>
            </a:extLst>
          </p:cNvPr>
          <p:cNvSpPr txBox="1"/>
          <p:nvPr/>
        </p:nvSpPr>
        <p:spPr>
          <a:xfrm flipH="1">
            <a:off x="2523295" y="3900972"/>
            <a:ext cx="2017758" cy="369332"/>
          </a:xfrm>
          <a:prstGeom prst="rect">
            <a:avLst/>
          </a:prstGeom>
          <a:noFill/>
        </p:spPr>
        <p:txBody>
          <a:bodyPr wrap="square" anchor="ctr">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900" b="0" i="1" u="none" strike="noStrike" cap="none" normalizeH="0" baseline="0" noProof="0">
                <a:ln>
                  <a:noFill/>
                </a:ln>
                <a:solidFill>
                  <a:schemeClr val="bg1">
                    <a:lumMod val="50000"/>
                  </a:schemeClr>
                </a:solidFill>
                <a:effectLst/>
                <a:uLnTx/>
                <a:uFillTx/>
                <a:latin typeface="DIN Next LT Arabic"/>
                <a:ea typeface="+mn-ea"/>
                <a:cs typeface="+mn-cs"/>
              </a:rPr>
              <a:t>لغة ترميز النص الفائق (</a:t>
            </a:r>
            <a:r>
              <a:rPr kumimoji="0" lang="en-US" sz="900" b="0" i="1" u="none" strike="noStrike" cap="none" normalizeH="0" baseline="0" noProof="0">
                <a:ln>
                  <a:noFill/>
                </a:ln>
                <a:solidFill>
                  <a:schemeClr val="bg1">
                    <a:lumMod val="50000"/>
                  </a:schemeClr>
                </a:solidFill>
                <a:effectLst/>
                <a:uLnTx/>
                <a:uFillTx/>
                <a:latin typeface="DIN Next LT Arabic"/>
                <a:ea typeface="+mn-ea"/>
                <a:cs typeface="+mn-cs"/>
              </a:rPr>
              <a:t>HTML</a:t>
            </a:r>
            <a:r>
              <a:rPr kumimoji="0" lang="ar-SA" sz="900" b="0" i="1" u="none" strike="noStrike" cap="none" normalizeH="0" baseline="0" noProof="0">
                <a:ln>
                  <a:noFill/>
                </a:ln>
                <a:solidFill>
                  <a:schemeClr val="bg1">
                    <a:lumMod val="50000"/>
                  </a:schemeClr>
                </a:solidFill>
                <a:effectLst/>
                <a:uLnTx/>
                <a:uFillTx/>
                <a:latin typeface="DIN Next LT Arabic"/>
                <a:ea typeface="+mn-ea"/>
                <a:cs typeface="+mn-cs"/>
              </a:rPr>
              <a:t>) </a:t>
            </a:r>
            <a:br>
              <a:rPr kumimoji="0" lang="en-US" sz="900" b="0" i="1" u="none" strike="noStrike" cap="none" normalizeH="0" baseline="0" noProof="0">
                <a:ln>
                  <a:noFill/>
                </a:ln>
                <a:solidFill>
                  <a:schemeClr val="bg1">
                    <a:lumMod val="50000"/>
                  </a:schemeClr>
                </a:solidFill>
                <a:effectLst/>
                <a:uLnTx/>
                <a:uFillTx/>
                <a:latin typeface="DIN Next LT Arabic"/>
                <a:ea typeface="+mn-ea"/>
                <a:cs typeface="+mn-cs"/>
              </a:rPr>
            </a:br>
            <a:r>
              <a:rPr kumimoji="0" lang="ar-SA" sz="900" b="0" i="1" u="none" strike="noStrike" cap="none" normalizeH="0" baseline="0" noProof="0">
                <a:ln>
                  <a:noFill/>
                </a:ln>
                <a:solidFill>
                  <a:schemeClr val="bg1">
                    <a:lumMod val="50000"/>
                  </a:schemeClr>
                </a:solidFill>
                <a:effectLst/>
                <a:uLnTx/>
                <a:uFillTx/>
                <a:latin typeface="DIN Next LT Arabic"/>
                <a:ea typeface="+mn-ea"/>
                <a:cs typeface="+mn-cs"/>
              </a:rPr>
              <a:t>وترميز الكائنات بلغة جافا سكريبت (</a:t>
            </a:r>
            <a:r>
              <a:rPr kumimoji="0" lang="en-US" sz="900" b="0" i="1" u="none" strike="noStrike" cap="none" normalizeH="0" baseline="0" noProof="0">
                <a:ln>
                  <a:noFill/>
                </a:ln>
                <a:solidFill>
                  <a:schemeClr val="bg1">
                    <a:lumMod val="50000"/>
                  </a:schemeClr>
                </a:solidFill>
                <a:effectLst/>
                <a:uLnTx/>
                <a:uFillTx/>
                <a:latin typeface="DIN Next LT Arabic"/>
                <a:ea typeface="+mn-ea"/>
                <a:cs typeface="+mn-cs"/>
              </a:rPr>
              <a:t>JSON</a:t>
            </a:r>
            <a:r>
              <a:rPr kumimoji="0" lang="ar-SA" sz="900" b="0" i="1" u="none" strike="noStrike" cap="none" normalizeH="0" baseline="0" noProof="0">
                <a:ln>
                  <a:noFill/>
                </a:ln>
                <a:solidFill>
                  <a:schemeClr val="bg1">
                    <a:lumMod val="50000"/>
                  </a:schemeClr>
                </a:solidFill>
                <a:effectLst/>
                <a:uLnTx/>
                <a:uFillTx/>
                <a:latin typeface="DIN Next LT Arabic"/>
                <a:ea typeface="+mn-ea"/>
                <a:cs typeface="+mn-cs"/>
              </a:rPr>
              <a:t>)</a:t>
            </a:r>
          </a:p>
        </p:txBody>
      </p:sp>
      <p:sp>
        <p:nvSpPr>
          <p:cNvPr id="91" name="TextBox 90">
            <a:extLst>
              <a:ext uri="{FF2B5EF4-FFF2-40B4-BE49-F238E27FC236}">
                <a16:creationId xmlns:a16="http://schemas.microsoft.com/office/drawing/2014/main" id="{0F5844F6-3F07-4B57-A30E-4387474DBD3C}"/>
              </a:ext>
            </a:extLst>
          </p:cNvPr>
          <p:cNvSpPr txBox="1"/>
          <p:nvPr/>
        </p:nvSpPr>
        <p:spPr>
          <a:xfrm flipH="1">
            <a:off x="7530964" y="3780804"/>
            <a:ext cx="1904620" cy="461665"/>
          </a:xfrm>
          <a:prstGeom prst="rect">
            <a:avLst/>
          </a:prstGeom>
          <a:noFill/>
        </p:spPr>
        <p:txBody>
          <a:bodyPr wrap="square" anchor="ctr">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800" b="0" i="1" u="none" strike="noStrike" cap="none" normalizeH="0" baseline="0" noProof="0">
                <a:ln>
                  <a:noFill/>
                </a:ln>
                <a:solidFill>
                  <a:schemeClr val="bg1">
                    <a:lumMod val="50000"/>
                  </a:schemeClr>
                </a:solidFill>
                <a:effectLst/>
                <a:uLnTx/>
                <a:uFillTx/>
                <a:latin typeface="DIN Next LT Arabic"/>
                <a:ea typeface="+mn-ea"/>
                <a:cs typeface="+mn-cs"/>
              </a:rPr>
              <a:t>لغة ترميز النص الفائق (</a:t>
            </a:r>
            <a:r>
              <a:rPr kumimoji="0" lang="en-US" sz="800" b="0" i="1" u="none" strike="noStrike" cap="none" normalizeH="0" baseline="0" noProof="0">
                <a:ln>
                  <a:noFill/>
                </a:ln>
                <a:solidFill>
                  <a:schemeClr val="bg1">
                    <a:lumMod val="50000"/>
                  </a:schemeClr>
                </a:solidFill>
                <a:effectLst/>
                <a:uLnTx/>
                <a:uFillTx/>
                <a:latin typeface="DIN Next LT Arabic"/>
                <a:ea typeface="+mn-ea"/>
                <a:cs typeface="+mn-cs"/>
              </a:rPr>
              <a:t>HTML</a:t>
            </a:r>
            <a:r>
              <a:rPr kumimoji="0" lang="ar-SA" sz="800" b="0" i="1" u="none" strike="noStrike" cap="none" normalizeH="0" baseline="0" noProof="0">
                <a:ln>
                  <a:noFill/>
                </a:ln>
                <a:solidFill>
                  <a:schemeClr val="bg1">
                    <a:lumMod val="50000"/>
                  </a:schemeClr>
                </a:solidFill>
                <a:effectLst/>
                <a:uLnTx/>
                <a:uFillTx/>
                <a:latin typeface="DIN Next LT Arabic"/>
                <a:ea typeface="+mn-ea"/>
                <a:cs typeface="+mn-cs"/>
              </a:rPr>
              <a:t>) وترميز الكائنات بلغة جافا سكريبت للأنظمة الجغرافية (</a:t>
            </a:r>
            <a:r>
              <a:rPr kumimoji="0" lang="en-US" sz="800" b="0" i="1" u="none" strike="noStrike" cap="none" normalizeH="0" baseline="0" noProof="0">
                <a:ln>
                  <a:noFill/>
                </a:ln>
                <a:solidFill>
                  <a:schemeClr val="bg1">
                    <a:lumMod val="50000"/>
                  </a:schemeClr>
                </a:solidFill>
                <a:effectLst/>
                <a:uLnTx/>
                <a:uFillTx/>
                <a:latin typeface="DIN Next LT Arabic"/>
                <a:ea typeface="+mn-ea"/>
                <a:cs typeface="+mn-cs"/>
              </a:rPr>
              <a:t>GeoJSON</a:t>
            </a:r>
            <a:r>
              <a:rPr kumimoji="0" lang="ar-SA" sz="800" b="0" i="1" u="none" strike="noStrike" cap="none" normalizeH="0" baseline="0" noProof="0">
                <a:ln>
                  <a:noFill/>
                </a:ln>
                <a:solidFill>
                  <a:schemeClr val="bg1">
                    <a:lumMod val="50000"/>
                  </a:schemeClr>
                </a:solidFill>
                <a:effectLst/>
                <a:uLnTx/>
                <a:uFillTx/>
                <a:latin typeface="DIN Next LT Arabic"/>
                <a:ea typeface="+mn-ea"/>
                <a:cs typeface="+mn-cs"/>
              </a:rPr>
              <a:t>)</a:t>
            </a:r>
          </a:p>
        </p:txBody>
      </p:sp>
      <p:sp>
        <p:nvSpPr>
          <p:cNvPr id="92" name="TextBox 91">
            <a:extLst>
              <a:ext uri="{FF2B5EF4-FFF2-40B4-BE49-F238E27FC236}">
                <a16:creationId xmlns:a16="http://schemas.microsoft.com/office/drawing/2014/main" id="{DC9824A9-4DE0-4979-B493-01D52757DCF8}"/>
              </a:ext>
            </a:extLst>
          </p:cNvPr>
          <p:cNvSpPr txBox="1"/>
          <p:nvPr/>
        </p:nvSpPr>
        <p:spPr>
          <a:xfrm flipH="1">
            <a:off x="5071726" y="3152778"/>
            <a:ext cx="1560433" cy="307777"/>
          </a:xfrm>
          <a:prstGeom prst="rect">
            <a:avLst/>
          </a:prstGeom>
          <a:noFill/>
        </p:spPr>
        <p:txBody>
          <a:bodyPr wrap="square" anchor="ctr">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لغة ترميز النص الفائق (</a:t>
            </a:r>
            <a:r>
              <a:rPr kumimoji="0" lang="en-US" sz="700" b="0" i="1" u="none" strike="noStrike" cap="none" normalizeH="0" baseline="0" noProof="0">
                <a:ln>
                  <a:noFill/>
                </a:ln>
                <a:solidFill>
                  <a:schemeClr val="bg1">
                    <a:lumMod val="50000"/>
                  </a:schemeClr>
                </a:solidFill>
                <a:effectLst/>
                <a:uLnTx/>
                <a:uFillTx/>
                <a:latin typeface="DIN Next LT Arabic"/>
                <a:ea typeface="+mn-ea"/>
                <a:cs typeface="+mn-cs"/>
              </a:rPr>
              <a:t>HTML</a:t>
            </a: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 </a:t>
            </a:r>
            <a:br>
              <a:rPr kumimoji="0" lang="en-US" sz="700" b="0" i="1" u="none" strike="noStrike" cap="none" normalizeH="0" baseline="0" noProof="0">
                <a:ln>
                  <a:noFill/>
                </a:ln>
                <a:solidFill>
                  <a:schemeClr val="bg1">
                    <a:lumMod val="50000"/>
                  </a:schemeClr>
                </a:solidFill>
                <a:effectLst/>
                <a:uLnTx/>
                <a:uFillTx/>
                <a:latin typeface="DIN Next LT Arabic"/>
                <a:ea typeface="+mn-ea"/>
                <a:cs typeface="+mn-cs"/>
              </a:rPr>
            </a:b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وترميز الكائنات بلغة جافا سكريبت (</a:t>
            </a:r>
            <a:r>
              <a:rPr kumimoji="0" lang="en-US" sz="700" b="0" i="1" u="none" strike="noStrike" cap="none" normalizeH="0" baseline="0" noProof="0">
                <a:ln>
                  <a:noFill/>
                </a:ln>
                <a:solidFill>
                  <a:schemeClr val="bg1">
                    <a:lumMod val="50000"/>
                  </a:schemeClr>
                </a:solidFill>
                <a:effectLst/>
                <a:uLnTx/>
                <a:uFillTx/>
                <a:latin typeface="DIN Next LT Arabic"/>
                <a:ea typeface="+mn-ea"/>
                <a:cs typeface="+mn-cs"/>
              </a:rPr>
              <a:t>JSON</a:t>
            </a: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a:t>
            </a:r>
          </a:p>
        </p:txBody>
      </p:sp>
      <p:sp>
        <p:nvSpPr>
          <p:cNvPr id="93" name="Freeform: Shape 92">
            <a:extLst>
              <a:ext uri="{FF2B5EF4-FFF2-40B4-BE49-F238E27FC236}">
                <a16:creationId xmlns:a16="http://schemas.microsoft.com/office/drawing/2014/main" id="{497F0656-41F4-4EF0-88A2-021E3FDE85FF}"/>
              </a:ext>
            </a:extLst>
          </p:cNvPr>
          <p:cNvSpPr/>
          <p:nvPr/>
        </p:nvSpPr>
        <p:spPr>
          <a:xfrm flipH="1">
            <a:off x="8899599" y="4617424"/>
            <a:ext cx="830706" cy="309764"/>
          </a:xfrm>
          <a:custGeom>
            <a:avLst/>
            <a:gdLst>
              <a:gd name="connsiteX0" fmla="*/ 0 w 754380"/>
              <a:gd name="connsiteY0" fmla="*/ 0 h 358140"/>
              <a:gd name="connsiteX1" fmla="*/ 754380 w 754380"/>
              <a:gd name="connsiteY1" fmla="*/ 0 h 358140"/>
              <a:gd name="connsiteX2" fmla="*/ 754380 w 754380"/>
              <a:gd name="connsiteY2" fmla="*/ 358140 h 358140"/>
            </a:gdLst>
            <a:ahLst/>
            <a:cxnLst>
              <a:cxn ang="0">
                <a:pos x="connsiteX0" y="connsiteY0"/>
              </a:cxn>
              <a:cxn ang="0">
                <a:pos x="connsiteX1" y="connsiteY1"/>
              </a:cxn>
              <a:cxn ang="0">
                <a:pos x="connsiteX2" y="connsiteY2"/>
              </a:cxn>
            </a:cxnLst>
            <a:rect l="l" t="t" r="r" b="b"/>
            <a:pathLst>
              <a:path w="754380" h="358140">
                <a:moveTo>
                  <a:pt x="0" y="0"/>
                </a:moveTo>
                <a:lnTo>
                  <a:pt x="754380" y="0"/>
                </a:lnTo>
                <a:lnTo>
                  <a:pt x="754380" y="358140"/>
                </a:lnTo>
              </a:path>
            </a:pathLst>
          </a:cu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rtl="1"/>
            <a:endParaRPr lang="en-US" sz="1000"/>
          </a:p>
        </p:txBody>
      </p:sp>
      <p:cxnSp>
        <p:nvCxnSpPr>
          <p:cNvPr id="94" name="Straight Arrow Connector 93">
            <a:extLst>
              <a:ext uri="{FF2B5EF4-FFF2-40B4-BE49-F238E27FC236}">
                <a16:creationId xmlns:a16="http://schemas.microsoft.com/office/drawing/2014/main" id="{0960EF04-200D-4EB2-AC55-DD1A3B0090F0}"/>
              </a:ext>
            </a:extLst>
          </p:cNvPr>
          <p:cNvCxnSpPr>
            <a:cxnSpLocks/>
          </p:cNvCxnSpPr>
          <p:nvPr/>
        </p:nvCxnSpPr>
        <p:spPr>
          <a:xfrm>
            <a:off x="7716322" y="5049899"/>
            <a:ext cx="216059" cy="0"/>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97" name="Freeform: Shape 96">
            <a:extLst>
              <a:ext uri="{FF2B5EF4-FFF2-40B4-BE49-F238E27FC236}">
                <a16:creationId xmlns:a16="http://schemas.microsoft.com/office/drawing/2014/main" id="{1234A2B9-2CBE-4196-8612-5F598F1C9CC3}"/>
              </a:ext>
            </a:extLst>
          </p:cNvPr>
          <p:cNvSpPr/>
          <p:nvPr/>
        </p:nvSpPr>
        <p:spPr>
          <a:xfrm flipH="1">
            <a:off x="2712143" y="4624706"/>
            <a:ext cx="6035487" cy="322359"/>
          </a:xfrm>
          <a:custGeom>
            <a:avLst/>
            <a:gdLst>
              <a:gd name="connsiteX0" fmla="*/ 0 w 6141720"/>
              <a:gd name="connsiteY0" fmla="*/ 297180 h 297180"/>
              <a:gd name="connsiteX1" fmla="*/ 0 w 6141720"/>
              <a:gd name="connsiteY1" fmla="*/ 0 h 297180"/>
              <a:gd name="connsiteX2" fmla="*/ 6141720 w 6141720"/>
              <a:gd name="connsiteY2" fmla="*/ 0 h 297180"/>
              <a:gd name="connsiteX3" fmla="*/ 6141720 w 6141720"/>
              <a:gd name="connsiteY3" fmla="*/ 289560 h 297180"/>
            </a:gdLst>
            <a:ahLst/>
            <a:cxnLst>
              <a:cxn ang="0">
                <a:pos x="connsiteX0" y="connsiteY0"/>
              </a:cxn>
              <a:cxn ang="0">
                <a:pos x="connsiteX1" y="connsiteY1"/>
              </a:cxn>
              <a:cxn ang="0">
                <a:pos x="connsiteX2" y="connsiteY2"/>
              </a:cxn>
              <a:cxn ang="0">
                <a:pos x="connsiteX3" y="connsiteY3"/>
              </a:cxn>
            </a:cxnLst>
            <a:rect l="l" t="t" r="r" b="b"/>
            <a:pathLst>
              <a:path w="6141720" h="297180">
                <a:moveTo>
                  <a:pt x="0" y="297180"/>
                </a:moveTo>
                <a:lnTo>
                  <a:pt x="0" y="0"/>
                </a:lnTo>
                <a:lnTo>
                  <a:pt x="6141720" y="0"/>
                </a:lnTo>
                <a:lnTo>
                  <a:pt x="6141720" y="289560"/>
                </a:lnTo>
              </a:path>
            </a:pathLst>
          </a:cu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rtl="1"/>
            <a:endParaRPr lang="en-US" sz="1000">
              <a:solidFill>
                <a:schemeClr val="tx1"/>
              </a:solidFill>
            </a:endParaRPr>
          </a:p>
        </p:txBody>
      </p:sp>
      <p:grpSp>
        <p:nvGrpSpPr>
          <p:cNvPr id="2" name="Group 1">
            <a:extLst>
              <a:ext uri="{FF2B5EF4-FFF2-40B4-BE49-F238E27FC236}">
                <a16:creationId xmlns:a16="http://schemas.microsoft.com/office/drawing/2014/main" id="{7D2DB5BE-8C35-4E80-9C73-E79D99645FEE}"/>
              </a:ext>
            </a:extLst>
          </p:cNvPr>
          <p:cNvGrpSpPr/>
          <p:nvPr/>
        </p:nvGrpSpPr>
        <p:grpSpPr>
          <a:xfrm flipH="1">
            <a:off x="5517900" y="4498197"/>
            <a:ext cx="591000" cy="439080"/>
            <a:chOff x="5948573" y="4465067"/>
            <a:chExt cx="591000" cy="339580"/>
          </a:xfrm>
        </p:grpSpPr>
        <p:cxnSp>
          <p:nvCxnSpPr>
            <p:cNvPr id="98" name="Straight Arrow Connector 97">
              <a:extLst>
                <a:ext uri="{FF2B5EF4-FFF2-40B4-BE49-F238E27FC236}">
                  <a16:creationId xmlns:a16="http://schemas.microsoft.com/office/drawing/2014/main" id="{97855BC4-16FF-479D-A1BE-B3D19DE29EF3}"/>
                </a:ext>
              </a:extLst>
            </p:cNvPr>
            <p:cNvCxnSpPr>
              <a:cxnSpLocks/>
            </p:cNvCxnSpPr>
            <p:nvPr/>
          </p:nvCxnSpPr>
          <p:spPr>
            <a:xfrm flipV="1">
              <a:off x="5948573" y="4465067"/>
              <a:ext cx="0" cy="339580"/>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77240E95-7B8F-4DBC-8CAE-8D7BBF11767A}"/>
                </a:ext>
              </a:extLst>
            </p:cNvPr>
            <p:cNvCxnSpPr>
              <a:cxnSpLocks/>
            </p:cNvCxnSpPr>
            <p:nvPr/>
          </p:nvCxnSpPr>
          <p:spPr>
            <a:xfrm flipV="1">
              <a:off x="6539573" y="4465067"/>
              <a:ext cx="0" cy="339580"/>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CD07AC1D-2B45-49BE-B505-C43D50E6AA54}"/>
              </a:ext>
            </a:extLst>
          </p:cNvPr>
          <p:cNvSpPr txBox="1"/>
          <p:nvPr/>
        </p:nvSpPr>
        <p:spPr>
          <a:xfrm flipH="1">
            <a:off x="6026910" y="4622983"/>
            <a:ext cx="1613970" cy="307777"/>
          </a:xfrm>
          <a:prstGeom prst="rect">
            <a:avLst/>
          </a:prstGeom>
          <a:noFill/>
        </p:spPr>
        <p:txBody>
          <a:bodyPr wrap="square" anchor="ctr">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لغة ترميز النص الفائق (</a:t>
            </a:r>
            <a:r>
              <a:rPr kumimoji="0" lang="en-US" sz="700" b="0" i="1" u="none" strike="noStrike" cap="none" normalizeH="0" baseline="0" noProof="0">
                <a:ln>
                  <a:noFill/>
                </a:ln>
                <a:solidFill>
                  <a:schemeClr val="bg1">
                    <a:lumMod val="50000"/>
                  </a:schemeClr>
                </a:solidFill>
                <a:effectLst/>
                <a:uLnTx/>
                <a:uFillTx/>
                <a:latin typeface="DIN Next LT Arabic"/>
                <a:ea typeface="+mn-ea"/>
                <a:cs typeface="+mn-cs"/>
              </a:rPr>
              <a:t>HTML</a:t>
            </a: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 </a:t>
            </a:r>
            <a:br>
              <a:rPr kumimoji="0" lang="en-US" sz="700" b="0" i="1" u="none" strike="noStrike" cap="none" normalizeH="0" baseline="0" noProof="0">
                <a:ln>
                  <a:noFill/>
                </a:ln>
                <a:solidFill>
                  <a:schemeClr val="bg1">
                    <a:lumMod val="50000"/>
                  </a:schemeClr>
                </a:solidFill>
                <a:effectLst/>
                <a:uLnTx/>
                <a:uFillTx/>
                <a:latin typeface="DIN Next LT Arabic"/>
                <a:ea typeface="+mn-ea"/>
                <a:cs typeface="+mn-cs"/>
              </a:rPr>
            </a:b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وترميز الكائنات بلغة جافا سكريبت (</a:t>
            </a:r>
            <a:r>
              <a:rPr kumimoji="0" lang="en-US" sz="700" b="0" i="1" u="none" strike="noStrike" cap="none" normalizeH="0" baseline="0" noProof="0">
                <a:ln>
                  <a:noFill/>
                </a:ln>
                <a:solidFill>
                  <a:schemeClr val="bg1">
                    <a:lumMod val="50000"/>
                  </a:schemeClr>
                </a:solidFill>
                <a:effectLst/>
                <a:uLnTx/>
                <a:uFillTx/>
                <a:latin typeface="DIN Next LT Arabic"/>
                <a:ea typeface="+mn-ea"/>
                <a:cs typeface="+mn-cs"/>
              </a:rPr>
              <a:t>JSON</a:t>
            </a: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a:t>
            </a:r>
          </a:p>
        </p:txBody>
      </p:sp>
      <p:sp>
        <p:nvSpPr>
          <p:cNvPr id="103" name="TextBox 102">
            <a:extLst>
              <a:ext uri="{FF2B5EF4-FFF2-40B4-BE49-F238E27FC236}">
                <a16:creationId xmlns:a16="http://schemas.microsoft.com/office/drawing/2014/main" id="{9CEEBA67-CC39-4019-AED0-1A1C8ECD388E}"/>
              </a:ext>
            </a:extLst>
          </p:cNvPr>
          <p:cNvSpPr txBox="1"/>
          <p:nvPr/>
        </p:nvSpPr>
        <p:spPr>
          <a:xfrm flipH="1">
            <a:off x="3822704" y="4579697"/>
            <a:ext cx="1725339" cy="415498"/>
          </a:xfrm>
          <a:prstGeom prst="rect">
            <a:avLst/>
          </a:prstGeom>
          <a:noFill/>
        </p:spPr>
        <p:txBody>
          <a:bodyPr wrap="square" anchor="ctr">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لغة ترميز النص الفائق (</a:t>
            </a:r>
            <a:r>
              <a:rPr kumimoji="0" lang="en-US" sz="700" b="0" i="1" u="none" strike="noStrike" cap="none" normalizeH="0" baseline="0" noProof="0">
                <a:ln>
                  <a:noFill/>
                </a:ln>
                <a:solidFill>
                  <a:schemeClr val="bg1">
                    <a:lumMod val="50000"/>
                  </a:schemeClr>
                </a:solidFill>
                <a:effectLst/>
                <a:uLnTx/>
                <a:uFillTx/>
                <a:latin typeface="DIN Next LT Arabic"/>
                <a:ea typeface="+mn-ea"/>
                <a:cs typeface="+mn-cs"/>
              </a:rPr>
              <a:t>HTML</a:t>
            </a: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 وترميز الكائنات بلغة جافا سكريبت (</a:t>
            </a:r>
            <a:r>
              <a:rPr kumimoji="0" lang="en-US" sz="700" b="0" i="1" u="none" strike="noStrike" cap="none" normalizeH="0" baseline="0" noProof="0">
                <a:ln>
                  <a:noFill/>
                </a:ln>
                <a:solidFill>
                  <a:schemeClr val="bg1">
                    <a:lumMod val="50000"/>
                  </a:schemeClr>
                </a:solidFill>
                <a:effectLst/>
                <a:uLnTx/>
                <a:uFillTx/>
                <a:latin typeface="DIN Next LT Arabic"/>
                <a:ea typeface="+mn-ea"/>
                <a:cs typeface="+mn-cs"/>
              </a:rPr>
              <a:t>JSON</a:t>
            </a: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 وترميز الكائنات بلغة جافا سكريبت للأنظمة الجغرافية (</a:t>
            </a:r>
            <a:r>
              <a:rPr kumimoji="0" lang="en-US" sz="700" b="0" i="1" u="none" strike="noStrike" cap="none" normalizeH="0" baseline="0" noProof="0" err="1">
                <a:ln>
                  <a:noFill/>
                </a:ln>
                <a:solidFill>
                  <a:schemeClr val="bg1">
                    <a:lumMod val="50000"/>
                  </a:schemeClr>
                </a:solidFill>
                <a:effectLst/>
                <a:uLnTx/>
                <a:uFillTx/>
                <a:latin typeface="DIN Next LT Arabic"/>
                <a:ea typeface="+mn-ea"/>
                <a:cs typeface="+mn-cs"/>
              </a:rPr>
              <a:t>GeoJSON</a:t>
            </a:r>
            <a:r>
              <a:rPr kumimoji="0" lang="ar-SA" sz="700" b="0" i="1" u="none" strike="noStrike" cap="none" normalizeH="0" baseline="0" noProof="0">
                <a:ln>
                  <a:noFill/>
                </a:ln>
                <a:solidFill>
                  <a:schemeClr val="bg1">
                    <a:lumMod val="50000"/>
                  </a:schemeClr>
                </a:solidFill>
                <a:effectLst/>
                <a:uLnTx/>
                <a:uFillTx/>
                <a:latin typeface="DIN Next LT Arabic"/>
                <a:ea typeface="+mn-ea"/>
                <a:cs typeface="+mn-cs"/>
              </a:rPr>
              <a:t>)</a:t>
            </a:r>
          </a:p>
        </p:txBody>
      </p:sp>
      <p:sp>
        <p:nvSpPr>
          <p:cNvPr id="105" name="TextBox 104">
            <a:extLst>
              <a:ext uri="{FF2B5EF4-FFF2-40B4-BE49-F238E27FC236}">
                <a16:creationId xmlns:a16="http://schemas.microsoft.com/office/drawing/2014/main" id="{ACED71CC-435A-434A-B1D8-1100097F346B}"/>
              </a:ext>
            </a:extLst>
          </p:cNvPr>
          <p:cNvSpPr txBox="1"/>
          <p:nvPr/>
        </p:nvSpPr>
        <p:spPr>
          <a:xfrm flipH="1">
            <a:off x="7971889" y="2500477"/>
            <a:ext cx="1211040" cy="245911"/>
          </a:xfrm>
          <a:prstGeom prst="rect">
            <a:avLst/>
          </a:prstGeom>
          <a:noFill/>
        </p:spPr>
        <p:txBody>
          <a:bodyPr wrap="square" anchor="ctr">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1000" b="0" i="1" u="none" strike="noStrike" cap="none" normalizeH="0" baseline="0" noProof="0">
                <a:ln>
                  <a:noFill/>
                </a:ln>
                <a:solidFill>
                  <a:schemeClr val="bg1">
                    <a:lumMod val="50000"/>
                  </a:schemeClr>
                </a:solidFill>
                <a:effectLst/>
                <a:uLnTx/>
                <a:uFillTx/>
                <a:latin typeface="DIN Next LT Arabic"/>
                <a:ea typeface="+mn-ea"/>
                <a:cs typeface="+mn-cs"/>
              </a:rPr>
              <a:t>لغة ترميز النص الفائق (</a:t>
            </a:r>
            <a:r>
              <a:rPr kumimoji="0" lang="en-US" sz="1000" b="0" i="1" u="none" strike="noStrike" cap="none" normalizeH="0" baseline="0" noProof="0">
                <a:ln>
                  <a:noFill/>
                </a:ln>
                <a:solidFill>
                  <a:schemeClr val="bg1">
                    <a:lumMod val="50000"/>
                  </a:schemeClr>
                </a:solidFill>
                <a:effectLst/>
                <a:uLnTx/>
                <a:uFillTx/>
                <a:latin typeface="DIN Next LT Arabic"/>
                <a:ea typeface="+mn-ea"/>
                <a:cs typeface="+mn-cs"/>
              </a:rPr>
              <a:t>HTML</a:t>
            </a:r>
            <a:r>
              <a:rPr kumimoji="0" lang="ar-SA" sz="1000" b="0" i="1" u="none" strike="noStrike" cap="none" normalizeH="0" baseline="0" noProof="0">
                <a:ln>
                  <a:noFill/>
                </a:ln>
                <a:solidFill>
                  <a:schemeClr val="bg1">
                    <a:lumMod val="50000"/>
                  </a:schemeClr>
                </a:solidFill>
                <a:effectLst/>
                <a:uLnTx/>
                <a:uFillTx/>
                <a:latin typeface="DIN Next LT Arabic"/>
                <a:ea typeface="+mn-ea"/>
                <a:cs typeface="+mn-cs"/>
              </a:rPr>
              <a:t>)</a:t>
            </a:r>
          </a:p>
        </p:txBody>
      </p:sp>
      <p:sp>
        <p:nvSpPr>
          <p:cNvPr id="115" name="Cylinder 114">
            <a:extLst>
              <a:ext uri="{FF2B5EF4-FFF2-40B4-BE49-F238E27FC236}">
                <a16:creationId xmlns:a16="http://schemas.microsoft.com/office/drawing/2014/main" id="{2D3808ED-5FDD-49EC-8939-7009A88128F7}"/>
              </a:ext>
            </a:extLst>
          </p:cNvPr>
          <p:cNvSpPr/>
          <p:nvPr/>
        </p:nvSpPr>
        <p:spPr>
          <a:xfrm flipH="1">
            <a:off x="3980456" y="5978640"/>
            <a:ext cx="1587232" cy="380847"/>
          </a:xfrm>
          <a:prstGeom prst="can">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SA" sz="700">
                <a:solidFill>
                  <a:schemeClr val="tx1"/>
                </a:solidFill>
              </a:rPr>
              <a:t>الكائنات الهندسية للمناطق</a:t>
            </a:r>
            <a:br>
              <a:rPr lang="ar-SA" sz="700">
                <a:solidFill>
                  <a:schemeClr val="tx1"/>
                </a:solidFill>
              </a:rPr>
            </a:br>
            <a:r>
              <a:rPr lang="ar-SA" sz="700">
                <a:solidFill>
                  <a:schemeClr val="tx1"/>
                </a:solidFill>
              </a:rPr>
              <a:t>برنامج «بوست جي آي إس» (</a:t>
            </a:r>
            <a:r>
              <a:rPr lang="en-US" sz="700">
                <a:solidFill>
                  <a:schemeClr val="tx1"/>
                </a:solidFill>
              </a:rPr>
              <a:t>PostGIS</a:t>
            </a:r>
            <a:r>
              <a:rPr lang="ar-SA" sz="700">
                <a:solidFill>
                  <a:schemeClr val="tx1"/>
                </a:solidFill>
              </a:rPr>
              <a:t>)</a:t>
            </a:r>
          </a:p>
        </p:txBody>
      </p:sp>
      <p:cxnSp>
        <p:nvCxnSpPr>
          <p:cNvPr id="119" name="Straight Arrow Connector 118">
            <a:extLst>
              <a:ext uri="{FF2B5EF4-FFF2-40B4-BE49-F238E27FC236}">
                <a16:creationId xmlns:a16="http://schemas.microsoft.com/office/drawing/2014/main" id="{26A3C49E-3BCC-4A65-AEBC-322A69894C9F}"/>
              </a:ext>
            </a:extLst>
          </p:cNvPr>
          <p:cNvCxnSpPr>
            <a:cxnSpLocks/>
          </p:cNvCxnSpPr>
          <p:nvPr/>
        </p:nvCxnSpPr>
        <p:spPr>
          <a:xfrm flipH="1" flipV="1">
            <a:off x="4766693" y="5643721"/>
            <a:ext cx="0" cy="441445"/>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1EC431BD-C4B7-438E-944D-5F92DD3A0B55}"/>
              </a:ext>
            </a:extLst>
          </p:cNvPr>
          <p:cNvCxnSpPr>
            <a:cxnSpLocks/>
          </p:cNvCxnSpPr>
          <p:nvPr/>
        </p:nvCxnSpPr>
        <p:spPr>
          <a:xfrm flipH="1" flipV="1">
            <a:off x="8311758" y="5986139"/>
            <a:ext cx="0" cy="293337"/>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35B202B2-ABE8-4CA2-9C6C-12C44CF9CD1A}"/>
              </a:ext>
            </a:extLst>
          </p:cNvPr>
          <p:cNvCxnSpPr>
            <a:cxnSpLocks/>
          </p:cNvCxnSpPr>
          <p:nvPr/>
        </p:nvCxnSpPr>
        <p:spPr>
          <a:xfrm flipH="1" flipV="1">
            <a:off x="9230133" y="5986139"/>
            <a:ext cx="0" cy="293337"/>
          </a:xfrm>
          <a:prstGeom prst="straightConnector1">
            <a:avLst/>
          </a:prstGeom>
          <a:ln w="22225">
            <a:solidFill>
              <a:schemeClr val="bg1">
                <a:lumMod val="75000"/>
              </a:schemeClr>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7F9C0BF4-FA52-465D-86EE-BE70DF3ED6CE}"/>
              </a:ext>
            </a:extLst>
          </p:cNvPr>
          <p:cNvSpPr txBox="1"/>
          <p:nvPr/>
        </p:nvSpPr>
        <p:spPr>
          <a:xfrm flipH="1">
            <a:off x="3783953" y="5680852"/>
            <a:ext cx="1045240" cy="307777"/>
          </a:xfrm>
          <a:prstGeom prst="rect">
            <a:avLst/>
          </a:prstGeom>
          <a:noFill/>
        </p:spPr>
        <p:txBody>
          <a:bodyPr wrap="square" anchor="ctr">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700" b="0" i="1" u="none" strike="noStrike" cap="none" normalizeH="0" baseline="0" noProof="0">
                <a:ln>
                  <a:noFill/>
                </a:ln>
                <a:effectLst/>
                <a:uLnTx/>
                <a:uFillTx/>
                <a:latin typeface="DIN Next LT Arabic"/>
                <a:ea typeface="+mn-ea"/>
                <a:cs typeface="+mn-cs"/>
              </a:rPr>
              <a:t>تقنية ربط قواعد البيانات باستخدام جافا (</a:t>
            </a:r>
            <a:r>
              <a:rPr kumimoji="0" lang="en-US" sz="700" b="0" i="1" u="none" strike="noStrike" cap="none" normalizeH="0" baseline="0" noProof="0">
                <a:ln>
                  <a:noFill/>
                </a:ln>
                <a:effectLst/>
                <a:uLnTx/>
                <a:uFillTx/>
                <a:latin typeface="DIN Next LT Arabic"/>
                <a:ea typeface="+mn-ea"/>
                <a:cs typeface="+mn-cs"/>
              </a:rPr>
              <a:t>JDBC</a:t>
            </a:r>
            <a:r>
              <a:rPr kumimoji="0" lang="ar-SA" sz="700" b="0" i="1" u="none" strike="noStrike" cap="none" normalizeH="0" baseline="0" noProof="0">
                <a:ln>
                  <a:noFill/>
                </a:ln>
                <a:effectLst/>
                <a:uLnTx/>
                <a:uFillTx/>
                <a:latin typeface="DIN Next LT Arabic"/>
                <a:ea typeface="+mn-ea"/>
                <a:cs typeface="+mn-cs"/>
              </a:rPr>
              <a:t>)</a:t>
            </a:r>
          </a:p>
        </p:txBody>
      </p:sp>
      <p:sp>
        <p:nvSpPr>
          <p:cNvPr id="72" name="Rectangle 71">
            <a:extLst>
              <a:ext uri="{FF2B5EF4-FFF2-40B4-BE49-F238E27FC236}">
                <a16:creationId xmlns:a16="http://schemas.microsoft.com/office/drawing/2014/main" id="{908CC220-B774-4629-BF4D-B16E88C39A16}"/>
              </a:ext>
            </a:extLst>
          </p:cNvPr>
          <p:cNvSpPr/>
          <p:nvPr/>
        </p:nvSpPr>
        <p:spPr>
          <a:xfrm flipH="1">
            <a:off x="544655" y="1239255"/>
            <a:ext cx="10988041" cy="52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استند تصميم البنية التحتية الإلكترونية لـ «الشبكة الأسترالية للبنية التحتية للأبحاث الحضرية» إلى نموذج بنية معمارية موجهة نحو الخدمة وقائمة على خادم العميل حيث يعتمد النموذج على مجموعة متنوعة من تطبيقات الخدمات</a:t>
            </a:r>
          </a:p>
        </p:txBody>
      </p:sp>
      <p:pic>
        <p:nvPicPr>
          <p:cNvPr id="62" name="Picture 2" descr="AURIN. Australian Urban Research Infrastructure Network">
            <a:extLst>
              <a:ext uri="{FF2B5EF4-FFF2-40B4-BE49-F238E27FC236}">
                <a16:creationId xmlns:a16="http://schemas.microsoft.com/office/drawing/2014/main" id="{42E7F28D-D538-44D4-960E-6227FE52430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Rounded Corners 65">
            <a:extLst>
              <a:ext uri="{FF2B5EF4-FFF2-40B4-BE49-F238E27FC236}">
                <a16:creationId xmlns:a16="http://schemas.microsoft.com/office/drawing/2014/main" id="{CA2C5B9A-59E8-4393-AE15-2ABC7778B397}"/>
              </a:ext>
            </a:extLst>
          </p:cNvPr>
          <p:cNvSpPr/>
          <p:nvPr/>
        </p:nvSpPr>
        <p:spPr>
          <a:xfrm>
            <a:off x="62752" y="69564"/>
            <a:ext cx="1678584" cy="228609"/>
          </a:xfrm>
          <a:prstGeom prst="roundRect">
            <a:avLst>
              <a:gd name="adj" fmla="val 14234"/>
            </a:avLst>
          </a:prstGeom>
          <a:solidFill>
            <a:srgbClr val="652F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2- جمع البيانات ومعالجتها</a:t>
            </a:r>
          </a:p>
        </p:txBody>
      </p:sp>
      <p:sp>
        <p:nvSpPr>
          <p:cNvPr id="60" name="TextBox 59">
            <a:extLst>
              <a:ext uri="{FF2B5EF4-FFF2-40B4-BE49-F238E27FC236}">
                <a16:creationId xmlns:a16="http://schemas.microsoft.com/office/drawing/2014/main" id="{E914B960-485F-4007-AEEA-B81F08980F42}"/>
              </a:ext>
            </a:extLst>
          </p:cNvPr>
          <p:cNvSpPr txBox="1"/>
          <p:nvPr/>
        </p:nvSpPr>
        <p:spPr>
          <a:xfrm flipH="1">
            <a:off x="8581971" y="5588192"/>
            <a:ext cx="1211040" cy="415498"/>
          </a:xfrm>
          <a:prstGeom prst="rect">
            <a:avLst/>
          </a:prstGeom>
          <a:noFill/>
        </p:spPr>
        <p:txBody>
          <a:bodyPr wrap="square" anchor="ctr">
            <a:spAutoFit/>
          </a:bodyPr>
          <a:lstStyle/>
          <a:p>
            <a:pPr algn="r" rtl="1"/>
            <a:r>
              <a:rPr lang="ar-SA" sz="700">
                <a:solidFill>
                  <a:schemeClr val="tx1"/>
                </a:solidFill>
              </a:rPr>
              <a:t>عميل خدمات سمات الويب</a:t>
            </a:r>
          </a:p>
          <a:p>
            <a:pPr algn="r" rtl="1"/>
            <a:r>
              <a:rPr lang="ar-SA" sz="700" i="1">
                <a:solidFill>
                  <a:schemeClr val="tx1"/>
                </a:solidFill>
              </a:rPr>
              <a:t>برنامج «بوست جي آي إس» للكائنات الهندسية</a:t>
            </a:r>
          </a:p>
        </p:txBody>
      </p:sp>
      <p:sp>
        <p:nvSpPr>
          <p:cNvPr id="63" name="TextBox 62">
            <a:extLst>
              <a:ext uri="{FF2B5EF4-FFF2-40B4-BE49-F238E27FC236}">
                <a16:creationId xmlns:a16="http://schemas.microsoft.com/office/drawing/2014/main" id="{BC2CB0D4-924D-4918-924D-FE5B0CDBBE24}"/>
              </a:ext>
            </a:extLst>
          </p:cNvPr>
          <p:cNvSpPr txBox="1"/>
          <p:nvPr/>
        </p:nvSpPr>
        <p:spPr>
          <a:xfrm flipH="1">
            <a:off x="7530964" y="5642052"/>
            <a:ext cx="1211040" cy="307777"/>
          </a:xfrm>
          <a:prstGeom prst="rect">
            <a:avLst/>
          </a:prstGeom>
          <a:noFill/>
        </p:spPr>
        <p:txBody>
          <a:bodyPr wrap="square" anchor="ctr">
            <a:spAutoFit/>
          </a:bodyPr>
          <a:lstStyle/>
          <a:p>
            <a:pPr algn="r" rtl="1"/>
            <a:r>
              <a:rPr lang="ar-SA" sz="700">
                <a:solidFill>
                  <a:schemeClr val="tx1"/>
                </a:solidFill>
              </a:rPr>
              <a:t>عميل خدمات الويب</a:t>
            </a:r>
          </a:p>
          <a:p>
            <a:pPr algn="r" rtl="1"/>
            <a:r>
              <a:rPr lang="ar-SA" sz="700" i="1">
                <a:solidFill>
                  <a:schemeClr val="tx1"/>
                </a:solidFill>
              </a:rPr>
              <a:t>إطار عمل «سبرينج»</a:t>
            </a:r>
          </a:p>
        </p:txBody>
      </p:sp>
      <p:pic>
        <p:nvPicPr>
          <p:cNvPr id="68" name="Picture 67">
            <a:extLst>
              <a:ext uri="{FF2B5EF4-FFF2-40B4-BE49-F238E27FC236}">
                <a16:creationId xmlns:a16="http://schemas.microsoft.com/office/drawing/2014/main" id="{FE74C983-FB4D-4909-B605-9E8A4415E13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172323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283131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3"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21" name="Slide Number Placeholder 4">
            <a:extLst>
              <a:ext uri="{FF2B5EF4-FFF2-40B4-BE49-F238E27FC236}">
                <a16:creationId xmlns:a16="http://schemas.microsoft.com/office/drawing/2014/main" id="{E90376AD-4712-4C36-9F26-58FBDB01F83A}"/>
              </a:ext>
            </a:extLst>
          </p:cNvPr>
          <p:cNvSpPr>
            <a:spLocks noGrp="1"/>
          </p:cNvSpPr>
          <p:nvPr>
            <p:ph type="sldNum" sz="quarter" idx="12"/>
          </p:nvPr>
        </p:nvSpPr>
        <p:spPr/>
        <p:txBody>
          <a:bodyPr/>
          <a:lstStyle/>
          <a:p>
            <a:pPr lvl="0"/>
            <a:fld id="{9FDB499F-DC86-4996-A3C7-FCE8E06389C2}" type="slidenum">
              <a:rPr lang="ar-SA" noProof="0" smtClean="0"/>
              <a:pPr lvl="0"/>
              <a:t>8</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قابلية التوسع وحالات الاستخدام الجديدة (1/ 3)</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25" name="Rectangle 24">
            <a:extLst>
              <a:ext uri="{FF2B5EF4-FFF2-40B4-BE49-F238E27FC236}">
                <a16:creationId xmlns:a16="http://schemas.microsoft.com/office/drawing/2014/main" id="{3753DB76-37AB-4ACB-AA4E-0CCAE1CEC46D}"/>
              </a:ext>
            </a:extLst>
          </p:cNvPr>
          <p:cNvSpPr/>
          <p:nvPr/>
        </p:nvSpPr>
        <p:spPr>
          <a:xfrm flipH="1">
            <a:off x="599441" y="4313451"/>
            <a:ext cx="8610600" cy="18288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هدف الشبكة إلى إمداد الباحثين ومسؤولي التخطيط ومسؤولي إعداد السياسات بما يناسبهم من مجموعات البيانات وخدمات </a:t>
            </a:r>
            <a:r>
              <a:rPr lang="ar-EG" sz="1200">
                <a:solidFill>
                  <a:schemeClr val="tx1"/>
                </a:solidFill>
                <a:latin typeface="DIN Next LT Arabic (Body)"/>
                <a:sym typeface="Effra" panose="02000506080000020004" pitchFamily="2" charset="0"/>
              </a:rPr>
              <a:t>تحليل البيانات وتحويلها إلى صور مرئية</a:t>
            </a:r>
            <a:r>
              <a:rPr lang="ar-SA" sz="1200">
                <a:solidFill>
                  <a:schemeClr val="tx1"/>
                </a:solidFill>
                <a:latin typeface="DIN Next LT Arabic (Body)"/>
                <a:sym typeface="Effra" panose="02000506080000020004" pitchFamily="2" charset="0"/>
              </a:rPr>
              <a:t> في الوقت المناسب وبجودة عالية وموثوق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خطط الشبكة لاستدامة ميزتها التنافسية من خلال الاستمرار في تمكين الباحثين من مواجهة التحديات البارزة على المستويين الوطني والعالمي، وهذا يعني إقامة شراكات جديدة وتطوير الشراكات الحالية لمواصلة توفير </a:t>
            </a:r>
            <a:r>
              <a:rPr lang="ar-SA" sz="1200" b="1">
                <a:solidFill>
                  <a:schemeClr val="tx1"/>
                </a:solidFill>
                <a:latin typeface="DIN Next LT Arabic (Body)"/>
                <a:sym typeface="Effra" panose="02000506080000020004" pitchFamily="2" charset="0"/>
              </a:rPr>
              <a:t>مجموعات بيانات عالية القيمة التي يكثر الطلب عليها </a:t>
            </a:r>
            <a:r>
              <a:rPr lang="ar-SA" sz="1200">
                <a:solidFill>
                  <a:schemeClr val="tx1"/>
                </a:solidFill>
                <a:latin typeface="DIN Next LT Arabic (Body)"/>
                <a:sym typeface="Effra" panose="02000506080000020004" pitchFamily="2" charset="0"/>
              </a:rPr>
              <a:t>لمستخدمي الشبكة، وذلك مع العمل على التالي:</a:t>
            </a:r>
          </a:p>
          <a:p>
            <a:pPr lvl="1" indent="-171450" algn="r" rtl="1">
              <a:buFont typeface="Helvetica" panose="020B0604020202020204" pitchFamily="34" charset="0"/>
              <a:buChar char="−"/>
              <a:defRPr/>
            </a:pPr>
            <a:r>
              <a:rPr lang="ar-SA" sz="1200">
                <a:solidFill>
                  <a:schemeClr val="tx1"/>
                </a:solidFill>
                <a:latin typeface="DIN Next LT Arabic (Body)"/>
                <a:sym typeface="Effra" panose="02000506080000020004" pitchFamily="2" charset="0"/>
              </a:rPr>
              <a:t>إجراء تقييم تفصيلي </a:t>
            </a:r>
            <a:r>
              <a:rPr lang="ar-SA" sz="1200" b="1">
                <a:solidFill>
                  <a:schemeClr val="tx1"/>
                </a:solidFill>
                <a:latin typeface="DIN Next LT Arabic (Body)"/>
                <a:sym typeface="Effra" panose="02000506080000020004" pitchFamily="2" charset="0"/>
              </a:rPr>
              <a:t>للتطورات في أنواع البيانات الجديدة والطلب على البيانات</a:t>
            </a:r>
            <a:r>
              <a:rPr lang="ar-SA" sz="1200">
                <a:solidFill>
                  <a:schemeClr val="tx1"/>
                </a:solidFill>
                <a:latin typeface="DIN Next LT Arabic (Body)"/>
                <a:sym typeface="Effra" panose="02000506080000020004" pitchFamily="2" charset="0"/>
              </a:rPr>
              <a:t> بهدف دعم الأبحاث في مختلفة القطاعات التي يتم إجراؤها حول الأولويات البحثية الناشئة، إضافة إلى تقييم الفرص لاستخدام الأدوات مثل </a:t>
            </a:r>
            <a:r>
              <a:rPr lang="ar-SA" sz="1200" b="1">
                <a:solidFill>
                  <a:schemeClr val="tx1"/>
                </a:solidFill>
                <a:latin typeface="DIN Next LT Arabic (Body)"/>
                <a:sym typeface="Effra" panose="02000506080000020004" pitchFamily="2" charset="0"/>
              </a:rPr>
              <a:t>الذكاء الاصطناعي والتعلم الآلي</a:t>
            </a:r>
          </a:p>
          <a:p>
            <a:pPr lvl="1" indent="-171450" algn="r" rtl="1">
              <a:buFont typeface="Helvetica" panose="020B0604020202020204" pitchFamily="34" charset="0"/>
              <a:buChar char="−"/>
              <a:defRPr/>
            </a:pPr>
            <a:r>
              <a:rPr lang="ar-SA" sz="1200">
                <a:solidFill>
                  <a:schemeClr val="tx1"/>
                </a:solidFill>
                <a:latin typeface="DIN Next LT Arabic (Body)"/>
                <a:sym typeface="Effra" panose="02000506080000020004" pitchFamily="2" charset="0"/>
              </a:rPr>
              <a:t>دعم نشر ومشاركة </a:t>
            </a:r>
            <a:r>
              <a:rPr lang="ar-SA" sz="1200" b="1">
                <a:solidFill>
                  <a:schemeClr val="tx1"/>
                </a:solidFill>
                <a:latin typeface="DIN Next LT Arabic (Body)"/>
                <a:sym typeface="Effra" panose="02000506080000020004" pitchFamily="2" charset="0"/>
              </a:rPr>
              <a:t>مجموعات البيانات المستخلصة</a:t>
            </a:r>
            <a:r>
              <a:rPr lang="ar-SA" sz="1200">
                <a:solidFill>
                  <a:schemeClr val="tx1"/>
                </a:solidFill>
                <a:latin typeface="DIN Next LT Arabic (Body)"/>
                <a:sym typeface="Effra" panose="02000506080000020004" pitchFamily="2" charset="0"/>
              </a:rPr>
              <a:t> (مثل المؤشرات)</a:t>
            </a:r>
          </a:p>
          <a:p>
            <a:pPr lvl="1" indent="-171450" algn="r" rtl="1">
              <a:buFont typeface="Helvetica" panose="020B0604020202020204" pitchFamily="34" charset="0"/>
              <a:buChar char="−"/>
              <a:defRPr/>
            </a:pPr>
            <a:r>
              <a:rPr lang="ar-SA" sz="1200">
                <a:solidFill>
                  <a:schemeClr val="tx1"/>
                </a:solidFill>
                <a:latin typeface="DIN Next LT Arabic (Body)"/>
                <a:sym typeface="Effra" panose="02000506080000020004" pitchFamily="2" charset="0"/>
              </a:rPr>
              <a:t>تحسين وتوسيع </a:t>
            </a:r>
            <a:r>
              <a:rPr lang="ar-EG" sz="1200" b="1">
                <a:solidFill>
                  <a:schemeClr val="tx1"/>
                </a:solidFill>
                <a:latin typeface="DIN Next LT Arabic (Body)"/>
                <a:sym typeface="Effra" panose="02000506080000020004" pitchFamily="2" charset="0"/>
              </a:rPr>
              <a:t>الأدوات</a:t>
            </a:r>
            <a:r>
              <a:rPr lang="ar-EG" sz="1200">
                <a:solidFill>
                  <a:schemeClr val="tx1"/>
                </a:solidFill>
                <a:latin typeface="DIN Next LT Arabic (Body)"/>
                <a:sym typeface="Effra" panose="02000506080000020004" pitchFamily="2" charset="0"/>
              </a:rPr>
              <a:t> المتوفرة لدى الشبكة </a:t>
            </a:r>
            <a:r>
              <a:rPr lang="ar-EG" sz="1200" b="1">
                <a:solidFill>
                  <a:schemeClr val="tx1"/>
                </a:solidFill>
                <a:latin typeface="DIN Next LT Arabic (Body)"/>
                <a:sym typeface="Effra" panose="02000506080000020004" pitchFamily="2" charset="0"/>
              </a:rPr>
              <a:t>لتحليل </a:t>
            </a:r>
            <a:r>
              <a:rPr lang="ar-SA" sz="1200" b="1">
                <a:solidFill>
                  <a:schemeClr val="tx1"/>
                </a:solidFill>
                <a:latin typeface="DIN Next LT Arabic (Body)"/>
                <a:sym typeface="Effra" panose="02000506080000020004" pitchFamily="2" charset="0"/>
              </a:rPr>
              <a:t>البيانات </a:t>
            </a:r>
            <a:r>
              <a:rPr lang="ar-EG" sz="1200" b="1">
                <a:solidFill>
                  <a:schemeClr val="tx1"/>
                </a:solidFill>
                <a:latin typeface="DIN Next LT Arabic (Body)"/>
                <a:sym typeface="Effra" panose="02000506080000020004" pitchFamily="2" charset="0"/>
              </a:rPr>
              <a:t>وتحويلها إلى صور </a:t>
            </a:r>
            <a:r>
              <a:rPr lang="ar-SA" sz="1200" b="1">
                <a:solidFill>
                  <a:schemeClr val="tx1"/>
                </a:solidFill>
                <a:latin typeface="DIN Next LT Arabic (Body)"/>
                <a:sym typeface="Effra" panose="02000506080000020004" pitchFamily="2" charset="0"/>
              </a:rPr>
              <a:t>مرئية</a:t>
            </a:r>
            <a:endParaRPr lang="ar-SA" sz="1200">
              <a:solidFill>
                <a:schemeClr val="tx1"/>
              </a:solidFill>
              <a:latin typeface="DIN Next LT Arabic (Body)"/>
              <a:sym typeface="Effra" panose="02000506080000020004" pitchFamily="2" charset="0"/>
            </a:endParaRPr>
          </a:p>
        </p:txBody>
      </p:sp>
      <p:sp>
        <p:nvSpPr>
          <p:cNvPr id="29" name="Rectangle 28">
            <a:extLst>
              <a:ext uri="{FF2B5EF4-FFF2-40B4-BE49-F238E27FC236}">
                <a16:creationId xmlns:a16="http://schemas.microsoft.com/office/drawing/2014/main" id="{1F2B1434-31F1-41C8-914B-398523B3C443}"/>
              </a:ext>
            </a:extLst>
          </p:cNvPr>
          <p:cNvSpPr/>
          <p:nvPr/>
        </p:nvSpPr>
        <p:spPr>
          <a:xfrm flipH="1">
            <a:off x="9293860" y="4313451"/>
            <a:ext cx="2250440" cy="18288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مجموعات البيانات </a:t>
            </a:r>
            <a:br>
              <a:rPr lang="ar-EG" sz="1400"/>
            </a:br>
            <a:r>
              <a:rPr lang="ar-SA" sz="1400"/>
              <a:t>والخدمات التحليلية </a:t>
            </a:r>
            <a:br>
              <a:rPr lang="ar-EG" sz="1400"/>
            </a:br>
            <a:r>
              <a:rPr lang="ar-EG" sz="1400"/>
              <a:t>ومؤثرات عرض البيانات</a:t>
            </a:r>
            <a:endParaRPr lang="ar-SA" sz="1400"/>
          </a:p>
        </p:txBody>
      </p:sp>
      <p:sp>
        <p:nvSpPr>
          <p:cNvPr id="42" name="Rectangle 41">
            <a:extLst>
              <a:ext uri="{FF2B5EF4-FFF2-40B4-BE49-F238E27FC236}">
                <a16:creationId xmlns:a16="http://schemas.microsoft.com/office/drawing/2014/main" id="{CA25CC24-C0A1-458F-A675-6898EEAA8A33}"/>
              </a:ext>
            </a:extLst>
          </p:cNvPr>
          <p:cNvSpPr/>
          <p:nvPr/>
        </p:nvSpPr>
        <p:spPr>
          <a:xfrm flipH="1">
            <a:off x="599369" y="2417961"/>
            <a:ext cx="8610672" cy="18288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تمثل إحدى الأولويات الاستراتيجية الرئيسية لدى «الشبكة الأسترالية للبنية التحتية للأبحاث الحضرية» في </a:t>
            </a:r>
            <a:r>
              <a:rPr lang="ar-SA" sz="1200" b="1">
                <a:solidFill>
                  <a:schemeClr val="tx1"/>
                </a:solidFill>
                <a:latin typeface="DIN Next LT Arabic (Body)"/>
                <a:sym typeface="Effra" panose="02000506080000020004" pitchFamily="2" charset="0"/>
              </a:rPr>
              <a:t>الحفاظ على المنصات والقدرات التكنولوجية والعمل على تحسينها</a:t>
            </a:r>
            <a:r>
              <a:rPr lang="ar-SA" sz="1200">
                <a:solidFill>
                  <a:schemeClr val="tx1"/>
                </a:solidFill>
                <a:latin typeface="DIN Next LT Arabic (Body)"/>
                <a:sym typeface="Effra" panose="02000506080000020004" pitchFamily="2" charset="0"/>
              </a:rPr>
              <a:t> لضمان تحقيقها للاستقلالية والمرونة والسرعة والقوة والموثوقية </a:t>
            </a:r>
            <a:r>
              <a:rPr lang="ar-EG" sz="1200">
                <a:solidFill>
                  <a:schemeClr val="tx1"/>
                </a:solidFill>
                <a:latin typeface="DIN Next LT Arabic (Body)"/>
                <a:sym typeface="Effra" panose="02000506080000020004" pitchFamily="2" charset="0"/>
              </a:rPr>
              <a:t>وقابلية</a:t>
            </a:r>
            <a:r>
              <a:rPr lang="ar-SA" sz="1200">
                <a:solidFill>
                  <a:schemeClr val="tx1"/>
                </a:solidFill>
                <a:latin typeface="DIN Next LT Arabic (Body)"/>
                <a:sym typeface="Effra" panose="02000506080000020004" pitchFamily="2" charset="0"/>
              </a:rPr>
              <a:t> التوسع والأمن</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SA" sz="1200">
                <a:solidFill>
                  <a:schemeClr val="tx1"/>
                </a:solidFill>
                <a:latin typeface="DIN Next LT Arabic (Body)"/>
                <a:sym typeface="Effra" panose="02000506080000020004" pitchFamily="2" charset="0"/>
              </a:rPr>
              <a:t>تجري الشبكة عملية مراجعة شاملة لبنيتها التحتية التقنية ومن ثم تعمل على تحديثها لضمان قدرتها على النمو مع الحفاظ على السرعة والكفاءة وتقليل التكرار إضافة إلى ضمان ميزتها التنافسية. </a:t>
            </a:r>
            <a:r>
              <a:rPr lang="ar-EG" sz="1200">
                <a:solidFill>
                  <a:schemeClr val="tx1"/>
                </a:solidFill>
                <a:latin typeface="DIN Next LT Arabic (Body)"/>
                <a:sym typeface="Effra" panose="02000506080000020004" pitchFamily="2" charset="0"/>
              </a:rPr>
              <a:t>وتخطط</a:t>
            </a:r>
            <a:r>
              <a:rPr lang="ar-SA" sz="1200">
                <a:solidFill>
                  <a:schemeClr val="tx1"/>
                </a:solidFill>
                <a:latin typeface="DIN Next LT Arabic (Body)"/>
                <a:sym typeface="Effra" panose="02000506080000020004" pitchFamily="2" charset="0"/>
              </a:rPr>
              <a:t> الشبكة تنفيذ الأعمال التالية خلال السنوات القادمة:</a:t>
            </a:r>
          </a:p>
          <a:p>
            <a:pPr lvl="1" indent="-171450" algn="r" rtl="1">
              <a:buFont typeface="Helvetica" panose="020B0604020202020204" pitchFamily="34" charset="0"/>
              <a:buChar char="−"/>
              <a:defRPr/>
            </a:pPr>
            <a:r>
              <a:rPr lang="ar-SA" sz="1200">
                <a:solidFill>
                  <a:schemeClr val="tx1"/>
                </a:solidFill>
                <a:latin typeface="DIN Next LT Arabic (Body)"/>
                <a:sym typeface="Effra" panose="02000506080000020004" pitchFamily="2" charset="0"/>
              </a:rPr>
              <a:t>زيادة اعتماد </a:t>
            </a:r>
            <a:r>
              <a:rPr lang="ar-SA" sz="1200" b="1">
                <a:solidFill>
                  <a:schemeClr val="tx1"/>
                </a:solidFill>
                <a:latin typeface="DIN Next LT Arabic (Body)"/>
                <a:sym typeface="Effra" panose="02000506080000020004" pitchFamily="2" charset="0"/>
              </a:rPr>
              <a:t>التقنيات المحدثة ومفتوحة المصدر والقائمة على السحابة</a:t>
            </a:r>
          </a:p>
          <a:p>
            <a:pPr lvl="1" indent="-171450" algn="r" rtl="1">
              <a:buFont typeface="Helvetica" panose="020B0604020202020204" pitchFamily="34" charset="0"/>
              <a:buChar char="−"/>
              <a:defRPr/>
            </a:pPr>
            <a:r>
              <a:rPr lang="ar-SA" sz="1200">
                <a:solidFill>
                  <a:schemeClr val="tx1"/>
                </a:solidFill>
                <a:latin typeface="DIN Next LT Arabic (Body)"/>
                <a:sym typeface="Effra" panose="02000506080000020004" pitchFamily="2" charset="0"/>
              </a:rPr>
              <a:t>السعي نحو تحقيق التحسين المستمر في </a:t>
            </a:r>
            <a:r>
              <a:rPr lang="ar-SA" sz="1200" b="1">
                <a:solidFill>
                  <a:schemeClr val="tx1"/>
                </a:solidFill>
                <a:latin typeface="DIN Next LT Arabic (Body)"/>
                <a:sym typeface="Effra" panose="02000506080000020004" pitchFamily="2" charset="0"/>
              </a:rPr>
              <a:t>معاييرها الأمنية</a:t>
            </a:r>
          </a:p>
          <a:p>
            <a:pPr lvl="1" indent="-171450" algn="r" rtl="1">
              <a:buFont typeface="Helvetica" panose="020B0604020202020204" pitchFamily="34" charset="0"/>
              <a:buChar char="−"/>
              <a:defRPr/>
            </a:pPr>
            <a:r>
              <a:rPr lang="ar-SA" sz="1200">
                <a:solidFill>
                  <a:schemeClr val="tx1"/>
                </a:solidFill>
                <a:latin typeface="DIN Next LT Arabic (Body)"/>
                <a:sym typeface="Effra" panose="02000506080000020004" pitchFamily="2" charset="0"/>
              </a:rPr>
              <a:t>تطبيق معايير جديدة للأداء والتقييم على المستوى التقني</a:t>
            </a:r>
          </a:p>
          <a:p>
            <a:pPr lvl="1" indent="-171450" algn="r" rtl="1">
              <a:buFont typeface="Helvetica" panose="020B0604020202020204" pitchFamily="34" charset="0"/>
              <a:buChar char="−"/>
              <a:defRPr/>
            </a:pPr>
            <a:r>
              <a:rPr lang="ar-SA" sz="1200">
                <a:solidFill>
                  <a:schemeClr val="tx1"/>
                </a:solidFill>
                <a:latin typeface="DIN Next LT Arabic (Body)"/>
                <a:sym typeface="Effra" panose="02000506080000020004" pitchFamily="2" charset="0"/>
              </a:rPr>
              <a:t>التطلع إلى تحقيق </a:t>
            </a:r>
            <a:r>
              <a:rPr lang="ar-SA" sz="1200" b="1">
                <a:solidFill>
                  <a:schemeClr val="tx1"/>
                </a:solidFill>
                <a:latin typeface="DIN Next LT Arabic (Body)"/>
                <a:sym typeface="Effra" panose="02000506080000020004" pitchFamily="2" charset="0"/>
              </a:rPr>
              <a:t>التكامل بصورة سلسة</a:t>
            </a:r>
            <a:r>
              <a:rPr lang="ar-SA" sz="1200">
                <a:solidFill>
                  <a:schemeClr val="tx1"/>
                </a:solidFill>
                <a:latin typeface="DIN Next LT Arabic (Body)"/>
                <a:sym typeface="Effra" panose="02000506080000020004" pitchFamily="2" charset="0"/>
              </a:rPr>
              <a:t> مع القدرات والموارد الوطنية الأخرى</a:t>
            </a:r>
          </a:p>
        </p:txBody>
      </p:sp>
      <p:sp>
        <p:nvSpPr>
          <p:cNvPr id="43" name="Rectangle 42">
            <a:extLst>
              <a:ext uri="{FF2B5EF4-FFF2-40B4-BE49-F238E27FC236}">
                <a16:creationId xmlns:a16="http://schemas.microsoft.com/office/drawing/2014/main" id="{62C0C4ED-B528-42C6-950C-B2F5FF28089A}"/>
              </a:ext>
            </a:extLst>
          </p:cNvPr>
          <p:cNvSpPr/>
          <p:nvPr/>
        </p:nvSpPr>
        <p:spPr>
          <a:xfrm flipH="1">
            <a:off x="9293860" y="2417961"/>
            <a:ext cx="2250440" cy="18288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المنصات </a:t>
            </a:r>
            <a:br>
              <a:rPr lang="ar-EG" sz="1400"/>
            </a:br>
            <a:r>
              <a:rPr lang="ar-SA" sz="1400"/>
              <a:t>والقدرات التكنولوجية</a:t>
            </a:r>
          </a:p>
        </p:txBody>
      </p:sp>
      <p:sp>
        <p:nvSpPr>
          <p:cNvPr id="46" name="TextBox 45">
            <a:extLst>
              <a:ext uri="{FF2B5EF4-FFF2-40B4-BE49-F238E27FC236}">
                <a16:creationId xmlns:a16="http://schemas.microsoft.com/office/drawing/2014/main" id="{4BAE446E-8335-4CA0-AC02-BFBC8C2E940F}"/>
              </a:ext>
            </a:extLst>
          </p:cNvPr>
          <p:cNvSpPr txBox="1"/>
          <p:nvPr/>
        </p:nvSpPr>
        <p:spPr>
          <a:xfrm>
            <a:off x="9898009"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إجراءات</a:t>
            </a:r>
          </a:p>
        </p:txBody>
      </p:sp>
      <p:cxnSp>
        <p:nvCxnSpPr>
          <p:cNvPr id="47" name="Straight Connector 46">
            <a:extLst>
              <a:ext uri="{FF2B5EF4-FFF2-40B4-BE49-F238E27FC236}">
                <a16:creationId xmlns:a16="http://schemas.microsoft.com/office/drawing/2014/main" id="{2D40608B-4C89-458C-80E6-E05029270744}"/>
              </a:ext>
            </a:extLst>
          </p:cNvPr>
          <p:cNvCxnSpPr>
            <a:cxnSpLocks/>
          </p:cNvCxnSpPr>
          <p:nvPr/>
        </p:nvCxnSpPr>
        <p:spPr>
          <a:xfrm>
            <a:off x="9301480" y="2336276"/>
            <a:ext cx="225850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DA2BC725-B356-4A7A-9660-F1498AE34A9F}"/>
              </a:ext>
            </a:extLst>
          </p:cNvPr>
          <p:cNvSpPr txBox="1"/>
          <p:nvPr/>
        </p:nvSpPr>
        <p:spPr>
          <a:xfrm>
            <a:off x="4280719"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49" name="Straight Connector 48">
            <a:extLst>
              <a:ext uri="{FF2B5EF4-FFF2-40B4-BE49-F238E27FC236}">
                <a16:creationId xmlns:a16="http://schemas.microsoft.com/office/drawing/2014/main" id="{3B93FEA4-2C17-4820-9C85-79B9726CB616}"/>
              </a:ext>
            </a:extLst>
          </p:cNvPr>
          <p:cNvCxnSpPr>
            <a:cxnSpLocks/>
          </p:cNvCxnSpPr>
          <p:nvPr/>
        </p:nvCxnSpPr>
        <p:spPr>
          <a:xfrm>
            <a:off x="599441" y="2336276"/>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ACC80432-F35B-46C8-A1D1-7DB7962C2666}"/>
              </a:ext>
            </a:extLst>
          </p:cNvPr>
          <p:cNvSpPr/>
          <p:nvPr/>
        </p:nvSpPr>
        <p:spPr>
          <a:xfrm flipH="1">
            <a:off x="1072570" y="1425686"/>
            <a:ext cx="10517522" cy="2555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r" defTabSz="914400" rtl="1" eaLnBrk="1" fontAlgn="auto" latinLnBrk="0" hangingPunct="1">
              <a:lnSpc>
                <a:spcPct val="100000"/>
              </a:lnSpc>
              <a:spcBef>
                <a:spcPts val="0"/>
              </a:spcBef>
              <a:spcAft>
                <a:spcPts val="0"/>
              </a:spcAft>
              <a:buClrTx/>
              <a:buSzTx/>
              <a:tabLst/>
              <a:defRPr/>
            </a:pPr>
            <a:r>
              <a:rPr kumimoji="0" lang="ar-SA" sz="1400" b="0" i="0" u="none" strike="noStrike" cap="none" normalizeH="0" baseline="0" noProof="0">
                <a:ln>
                  <a:noFill/>
                </a:ln>
                <a:solidFill>
                  <a:schemeClr val="tx1"/>
                </a:solidFill>
                <a:effectLst/>
                <a:uLnTx/>
                <a:uFillTx/>
                <a:latin typeface="DIN Next LT Arabic"/>
                <a:ea typeface="+mn-ea"/>
                <a:cs typeface="+mn-cs"/>
              </a:rPr>
              <a:t>يتمثل أحد الأهداف الرئيسية للخطة الاستراتيجية التي وضعتها «الشبكة الأسترالية للبنية التحتية للأبحاث الحضرية» للفترة من 2019 إلى 2023 في تحسين قدراتها المتعلقة بالتكنولوجيا والبيانات، بما يشمل اعتماد تقنيات جديدة ومجموعات بيانات متنوعة</a:t>
            </a:r>
          </a:p>
        </p:txBody>
      </p:sp>
      <p:pic>
        <p:nvPicPr>
          <p:cNvPr id="31" name="Picture 2" descr="AURIN. Australian Urban Research Infrastructure Network">
            <a:extLst>
              <a:ext uri="{FF2B5EF4-FFF2-40B4-BE49-F238E27FC236}">
                <a16:creationId xmlns:a16="http://schemas.microsoft.com/office/drawing/2014/main" id="{C1C77E3B-5DAC-4A9D-9E25-8218D3FD4126}"/>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Rounded Corners 32">
            <a:extLst>
              <a:ext uri="{FF2B5EF4-FFF2-40B4-BE49-F238E27FC236}">
                <a16:creationId xmlns:a16="http://schemas.microsoft.com/office/drawing/2014/main" id="{1F917BC3-959F-45E8-B531-6CA29E90C7BC}"/>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3- التعامل مع البيانات وقابلية التوسع</a:t>
            </a:r>
          </a:p>
        </p:txBody>
      </p:sp>
      <p:pic>
        <p:nvPicPr>
          <p:cNvPr id="24" name="Picture 23">
            <a:extLst>
              <a:ext uri="{FF2B5EF4-FFF2-40B4-BE49-F238E27FC236}">
                <a16:creationId xmlns:a16="http://schemas.microsoft.com/office/drawing/2014/main" id="{996E7D99-572A-46E0-B72A-8D4C75725FD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8024027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E613749-2C49-4AAF-A143-8A4051C1D08C}"/>
              </a:ext>
            </a:extLst>
          </p:cNvPr>
          <p:cNvGraphicFramePr>
            <a:graphicFrameLocks noChangeAspect="1"/>
          </p:cNvGraphicFramePr>
          <p:nvPr>
            <p:custDataLst>
              <p:tags r:id="rId2"/>
            </p:custDataLst>
            <p:extLst>
              <p:ext uri="{D42A27DB-BD31-4B8C-83A1-F6EECF244321}">
                <p14:modId xmlns:p14="http://schemas.microsoft.com/office/powerpoint/2010/main" val="331526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7" name="think-cell Slide" r:id="rId6" imgW="370" imgH="371" progId="TCLayout.ActiveDocument.1">
                  <p:embed/>
                </p:oleObj>
              </mc:Choice>
              <mc:Fallback>
                <p:oleObj name="think-cell Slide" r:id="rId6" imgW="370" imgH="371" progId="TCLayout.ActiveDocument.1">
                  <p:embed/>
                  <p:pic>
                    <p:nvPicPr>
                      <p:cNvPr id="7" name="Object 6" hidden="1">
                        <a:extLst>
                          <a:ext uri="{FF2B5EF4-FFF2-40B4-BE49-F238E27FC236}">
                            <a16:creationId xmlns:a16="http://schemas.microsoft.com/office/drawing/2014/main" id="{CE613749-2C49-4AAF-A143-8A4051C1D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239987A-5476-4C36-AD08-03853A0207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a:latin typeface="DIN Next LT Arabic Medium" panose="020B0603020203050203" pitchFamily="34" charset="-78"/>
              <a:ea typeface="+mj-ea"/>
              <a:cs typeface="+mj-cs"/>
              <a:sym typeface="DIN Next LT Arabic Medium" panose="020B0603020203050203" pitchFamily="34" charset="-78"/>
            </a:endParaRPr>
          </a:p>
        </p:txBody>
      </p:sp>
      <p:sp>
        <p:nvSpPr>
          <p:cNvPr id="2" name="Footer Placeholder 1">
            <a:extLst>
              <a:ext uri="{FF2B5EF4-FFF2-40B4-BE49-F238E27FC236}">
                <a16:creationId xmlns:a16="http://schemas.microsoft.com/office/drawing/2014/main" id="{FEF9A421-B0C6-404C-81D0-3B06C965C502}"/>
              </a:ext>
            </a:extLst>
          </p:cNvPr>
          <p:cNvSpPr>
            <a:spLocks noGrp="1"/>
          </p:cNvSpPr>
          <p:nvPr>
            <p:ph type="ftr" sz="quarter" idx="11"/>
          </p:nvPr>
        </p:nvSpPr>
        <p:spPr/>
        <p:txBody>
          <a:bodyPr/>
          <a:lstStyle/>
          <a:p>
            <a:r>
              <a:rPr lang="ar-SA"/>
              <a:t>المصدر: الموقع الإلكتروني الرسمي، وكتيب الشركة، والتقارير السنوية، والأبحاث الصحفية، وتحليلات فريق العمل</a:t>
            </a:r>
          </a:p>
        </p:txBody>
      </p:sp>
      <p:sp>
        <p:nvSpPr>
          <p:cNvPr id="34" name="Slide Number Placeholder 4">
            <a:extLst>
              <a:ext uri="{FF2B5EF4-FFF2-40B4-BE49-F238E27FC236}">
                <a16:creationId xmlns:a16="http://schemas.microsoft.com/office/drawing/2014/main" id="{C82D11B7-5A30-4CF2-A8FC-A4D3DA41C361}"/>
              </a:ext>
            </a:extLst>
          </p:cNvPr>
          <p:cNvSpPr>
            <a:spLocks noGrp="1"/>
          </p:cNvSpPr>
          <p:nvPr>
            <p:ph type="sldNum" sz="quarter" idx="12"/>
          </p:nvPr>
        </p:nvSpPr>
        <p:spPr/>
        <p:txBody>
          <a:bodyPr/>
          <a:lstStyle/>
          <a:p>
            <a:pPr lvl="0"/>
            <a:fld id="{9FDB499F-DC86-4996-A3C7-FCE8E06389C2}" type="slidenum">
              <a:rPr lang="ar-SA" noProof="0" smtClean="0"/>
              <a:pPr lvl="0"/>
              <a:t>9</a:t>
            </a:fld>
            <a:endParaRPr lang="ar-SA" noProof="0"/>
          </a:p>
        </p:txBody>
      </p:sp>
      <p:sp>
        <p:nvSpPr>
          <p:cNvPr id="20" name="Title 5">
            <a:extLst>
              <a:ext uri="{FF2B5EF4-FFF2-40B4-BE49-F238E27FC236}">
                <a16:creationId xmlns:a16="http://schemas.microsoft.com/office/drawing/2014/main" id="{C99BD39B-77CD-4E54-93D0-7F76C7A4896A}"/>
              </a:ext>
            </a:extLst>
          </p:cNvPr>
          <p:cNvSpPr>
            <a:spLocks noGrp="1"/>
          </p:cNvSpPr>
          <p:nvPr>
            <p:ph type="title"/>
          </p:nvPr>
        </p:nvSpPr>
        <p:spPr/>
        <p:txBody>
          <a:bodyPr vert="horz"/>
          <a:lstStyle/>
          <a:p>
            <a:r>
              <a:rPr lang="ar-SA"/>
              <a:t>قابلية التوسع وحالات الاستخدام الجديدة (2/ 3)</a:t>
            </a:r>
          </a:p>
        </p:txBody>
      </p:sp>
      <p:sp>
        <p:nvSpPr>
          <p:cNvPr id="22" name="Title 6">
            <a:extLst>
              <a:ext uri="{FF2B5EF4-FFF2-40B4-BE49-F238E27FC236}">
                <a16:creationId xmlns:a16="http://schemas.microsoft.com/office/drawing/2014/main" id="{E22BB216-EC65-459F-B715-BC6BCA21C007}"/>
              </a:ext>
            </a:extLst>
          </p:cNvPr>
          <p:cNvSpPr txBox="1">
            <a:spLocks/>
          </p:cNvSpPr>
          <p:nvPr/>
        </p:nvSpPr>
        <p:spPr>
          <a:xfrm>
            <a:off x="533400" y="556260"/>
            <a:ext cx="11049000" cy="579758"/>
          </a:xfrm>
          <a:prstGeom prst="rect">
            <a:avLst/>
          </a:prstGeom>
        </p:spPr>
        <p:txBody>
          <a:bodyPr vert="horz" lIns="91440" tIns="45720" rIns="91440" bIns="45720" rtlCol="1" anchor="ctr">
            <a:noAutofit/>
          </a:bodyPr>
          <a:lstStyle>
            <a:lvl1pPr rtl="1">
              <a:spcBef>
                <a:spcPct val="0"/>
              </a:spcBef>
              <a:buNone/>
              <a:defRPr sz="3200">
                <a:solidFill>
                  <a:schemeClr val="accent3"/>
                </a:solidFill>
                <a:latin typeface="+mj-lt"/>
                <a:ea typeface="+mj-ea"/>
                <a:cs typeface="+mj-cs"/>
              </a:defRPr>
            </a:lvl1pPr>
          </a:lstStyle>
          <a:p>
            <a:endParaRPr lang="en-US"/>
          </a:p>
        </p:txBody>
      </p:sp>
      <p:sp>
        <p:nvSpPr>
          <p:cNvPr id="26" name="Rectangle 25">
            <a:extLst>
              <a:ext uri="{FF2B5EF4-FFF2-40B4-BE49-F238E27FC236}">
                <a16:creationId xmlns:a16="http://schemas.microsoft.com/office/drawing/2014/main" id="{625ABE9E-2B8D-427E-9AA7-719672B9BE87}"/>
              </a:ext>
            </a:extLst>
          </p:cNvPr>
          <p:cNvSpPr/>
          <p:nvPr/>
        </p:nvSpPr>
        <p:spPr>
          <a:xfrm flipH="1">
            <a:off x="599441" y="4313451"/>
            <a:ext cx="8610600" cy="18288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وضعت الشبكة خططاً مستمرة لبناء مجتمعات الممارسة، </a:t>
            </a:r>
            <a:r>
              <a:rPr kumimoji="0" lang="ar-EG"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وزيادة</a:t>
            </a: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المهارات في مجال المعلومات الحضرية وتعزيز التعاون في مختلف المجالات البحثية والأوساط الحكومية والصناع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حاول الشبكة تحسين فهمها للمستخدمين بهدف تلبية احتياجاتهم، حيث تسعى إلى التحسين المستمر في خدمة المستخدمين الحاليين وتقييم إمكانات النمو في التخصصات والقطاعات الجديد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سيتم تعزيز خبرة فروع الشبكة ومجتمعات الممارسة لمساعدة الشبكة على تعزيز </a:t>
            </a:r>
            <a:r>
              <a:rPr kumimoji="0" lang="ar-SA" sz="12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التعاون بين الباحثين في تخصصات مختلفة وقطاعات متنوعة</a:t>
            </a: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بما يشمل الباحثين من الأوساط الأكاديمية والحكومية والصناعية، إضافة إلى تمكين زيادة مشاركة الباحثين الأستراليين في المبادرات الدولية ذات الصلة مما يؤدي بدوره إلى تحقيق تأثير بحثي على أرض الواقع</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ستستمر الشبكة في أنشطتها التوعوية بهدف </a:t>
            </a:r>
            <a:r>
              <a:rPr kumimoji="0" lang="ar-SA" sz="12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بناء القدرات والمهارات في مجال المعلومات الحضرية</a:t>
            </a: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 في أستراليا</a:t>
            </a:r>
          </a:p>
        </p:txBody>
      </p:sp>
      <p:sp>
        <p:nvSpPr>
          <p:cNvPr id="27" name="Rectangle 26">
            <a:extLst>
              <a:ext uri="{FF2B5EF4-FFF2-40B4-BE49-F238E27FC236}">
                <a16:creationId xmlns:a16="http://schemas.microsoft.com/office/drawing/2014/main" id="{FCF194B5-4A05-47C4-A20C-7A18E8F0E9DF}"/>
              </a:ext>
            </a:extLst>
          </p:cNvPr>
          <p:cNvSpPr/>
          <p:nvPr/>
        </p:nvSpPr>
        <p:spPr>
          <a:xfrm flipH="1">
            <a:off x="9293860" y="4313451"/>
            <a:ext cx="2250440" cy="18288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EG" sz="1400"/>
              <a:t>زيادة</a:t>
            </a:r>
            <a:r>
              <a:rPr lang="ar-SA" sz="1400"/>
              <a:t> المهارات في مجال المعلومات الحضرية</a:t>
            </a:r>
          </a:p>
        </p:txBody>
      </p:sp>
      <p:sp>
        <p:nvSpPr>
          <p:cNvPr id="28" name="Rectangle 27">
            <a:extLst>
              <a:ext uri="{FF2B5EF4-FFF2-40B4-BE49-F238E27FC236}">
                <a16:creationId xmlns:a16="http://schemas.microsoft.com/office/drawing/2014/main" id="{3FD6678D-BF9D-4FE0-A920-E2D62923DD43}"/>
              </a:ext>
            </a:extLst>
          </p:cNvPr>
          <p:cNvSpPr/>
          <p:nvPr/>
        </p:nvSpPr>
        <p:spPr>
          <a:xfrm flipH="1">
            <a:off x="599369" y="2417961"/>
            <a:ext cx="8610672" cy="1828800"/>
          </a:xfrm>
          <a:prstGeom prst="rect">
            <a:avLst/>
          </a:prstGeom>
          <a:ln w="12700">
            <a:solidFill>
              <a:schemeClr val="bg1">
                <a:lumMod val="75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tlCol="0" anchor="ctr"/>
          <a:lstStyle/>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تخطط «الشبكة الأسترالية للبنية التحتية للأبحاث الحضرية» لترسيخ مكانتها كجهة رائدة في مجال نظم المعلومات المكانية وعلم المعلومات الحضرية وأن تكون أيضاً جهة خبيرة في </a:t>
            </a:r>
            <a:r>
              <a:rPr kumimoji="0" lang="ar-SA" sz="1200" b="1"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إدارة البيانات الحضرية والمكانية</a:t>
            </a:r>
          </a:p>
          <a:p>
            <a:pPr marL="171450" marR="0" lvl="0" indent="-1714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SA" sz="1200" b="0" i="0" u="none" strike="noStrike" cap="none" normalizeH="0" baseline="0" noProof="0">
                <a:ln>
                  <a:noFill/>
                </a:ln>
                <a:solidFill>
                  <a:srgbClr val="282560"/>
                </a:solidFill>
                <a:effectLst/>
                <a:uLnTx/>
                <a:uFillTx/>
                <a:latin typeface="DIN Next LT Arabic (Body)"/>
                <a:ea typeface="+mn-ea"/>
                <a:cs typeface="+mn-cs"/>
                <a:sym typeface="Effra" panose="02000506080000020004" pitchFamily="2" charset="0"/>
              </a:rPr>
              <a:t>ستعمل الشبكة على تعزيز أنشطة المشاركة الرئيسية على الصعيدين الوطني والدولي، إضافة إلى عملها على الآتي:</a:t>
            </a:r>
          </a:p>
          <a:p>
            <a:pPr marR="0" lvl="1" indent="-171450" algn="r" rtl="1" fontAlgn="auto">
              <a:lnSpc>
                <a:spcPct val="100000"/>
              </a:lnSpc>
              <a:spcBef>
                <a:spcPts val="0"/>
              </a:spcBef>
              <a:spcAft>
                <a:spcPts val="0"/>
              </a:spcAft>
              <a:buClrTx/>
              <a:buSzTx/>
              <a:buFont typeface="Helvetica" panose="020B0604020202020204" pitchFamily="34" charset="0"/>
              <a:buChar char="−"/>
              <a:tabLst/>
              <a:defRPr/>
            </a:pPr>
            <a:r>
              <a:rPr lang="ar-SA" sz="1200">
                <a:solidFill>
                  <a:schemeClr val="tx1"/>
                </a:solidFill>
                <a:latin typeface="DIN Next LT Arabic (Body)"/>
                <a:sym typeface="Effra" panose="02000506080000020004" pitchFamily="2" charset="0"/>
              </a:rPr>
              <a:t>حصر الفرص والاستفادة منها للترويج </a:t>
            </a:r>
            <a:r>
              <a:rPr lang="ar-SA" sz="1200" b="1">
                <a:solidFill>
                  <a:schemeClr val="tx1"/>
                </a:solidFill>
                <a:latin typeface="DIN Next LT Arabic (Body)"/>
                <a:sym typeface="Effra" panose="02000506080000020004" pitchFamily="2" charset="0"/>
              </a:rPr>
              <a:t>للقيادة الفكرية</a:t>
            </a:r>
            <a:r>
              <a:rPr lang="ar-SA" sz="1200">
                <a:solidFill>
                  <a:schemeClr val="tx1"/>
                </a:solidFill>
                <a:latin typeface="DIN Next LT Arabic (Body)"/>
                <a:sym typeface="Effra" panose="02000506080000020004" pitchFamily="2" charset="0"/>
              </a:rPr>
              <a:t> أو توفيرها</a:t>
            </a:r>
          </a:p>
          <a:p>
            <a:pPr marR="0" lvl="1" indent="-171450" algn="r" rtl="1" fontAlgn="auto">
              <a:lnSpc>
                <a:spcPct val="100000"/>
              </a:lnSpc>
              <a:spcBef>
                <a:spcPts val="0"/>
              </a:spcBef>
              <a:spcAft>
                <a:spcPts val="0"/>
              </a:spcAft>
              <a:buClrTx/>
              <a:buSzTx/>
              <a:buFont typeface="Helvetica" panose="020B0604020202020204" pitchFamily="34" charset="0"/>
              <a:buChar char="−"/>
              <a:tabLst/>
              <a:defRPr/>
            </a:pPr>
            <a:r>
              <a:rPr lang="ar-SA" sz="1200">
                <a:solidFill>
                  <a:schemeClr val="tx1"/>
                </a:solidFill>
                <a:latin typeface="DIN Next LT Arabic (Body)"/>
                <a:sym typeface="Effra" panose="02000506080000020004" pitchFamily="2" charset="0"/>
              </a:rPr>
              <a:t>المشاركة والمساهمة في مجتمعات الممارسة ورد الجميل لـ «</a:t>
            </a:r>
            <a:r>
              <a:rPr lang="ar-SA" sz="1200" b="1">
                <a:solidFill>
                  <a:schemeClr val="tx1"/>
                </a:solidFill>
                <a:latin typeface="DIN Next LT Arabic (Body)"/>
                <a:sym typeface="Effra" panose="02000506080000020004" pitchFamily="2" charset="0"/>
              </a:rPr>
              <a:t>الاستراتيجية الوطنية للبنية التحتية للأبحاث التعاونية</a:t>
            </a:r>
            <a:r>
              <a:rPr lang="ar-SA" sz="1200">
                <a:solidFill>
                  <a:schemeClr val="tx1"/>
                </a:solidFill>
                <a:latin typeface="DIN Next LT Arabic (Body)"/>
                <a:sym typeface="Effra" panose="02000506080000020004" pitchFamily="2" charset="0"/>
              </a:rPr>
              <a:t>» وتقديم الأفضل لمجتمعات البيانات والمجتمعات الأخرى</a:t>
            </a:r>
          </a:p>
          <a:p>
            <a:pPr marR="0" lvl="1" indent="-171450" algn="r" rtl="1" fontAlgn="auto">
              <a:lnSpc>
                <a:spcPct val="100000"/>
              </a:lnSpc>
              <a:spcBef>
                <a:spcPts val="0"/>
              </a:spcBef>
              <a:spcAft>
                <a:spcPts val="0"/>
              </a:spcAft>
              <a:buClrTx/>
              <a:buSzTx/>
              <a:buFont typeface="Helvetica" panose="020B0604020202020204" pitchFamily="34" charset="0"/>
              <a:buChar char="−"/>
              <a:tabLst/>
              <a:defRPr/>
            </a:pPr>
            <a:r>
              <a:rPr lang="ar-SA" sz="1200">
                <a:solidFill>
                  <a:schemeClr val="tx1"/>
                </a:solidFill>
                <a:latin typeface="DIN Next LT Arabic (Body)"/>
                <a:sym typeface="Effra" panose="02000506080000020004" pitchFamily="2" charset="0"/>
              </a:rPr>
              <a:t>تعزيز مبادئ </a:t>
            </a:r>
            <a:r>
              <a:rPr lang="en-US" sz="1200">
                <a:solidFill>
                  <a:schemeClr val="tx1"/>
                </a:solidFill>
                <a:latin typeface="DIN Next LT Arabic (Body)"/>
                <a:sym typeface="Effra" panose="02000506080000020004" pitchFamily="2" charset="0"/>
              </a:rPr>
              <a:t>FAIR</a:t>
            </a:r>
            <a:r>
              <a:rPr lang="ar-SA" sz="1200">
                <a:solidFill>
                  <a:schemeClr val="tx1"/>
                </a:solidFill>
                <a:latin typeface="DIN Next LT Arabic (Body)"/>
                <a:sym typeface="Effra" panose="02000506080000020004" pitchFamily="2" charset="0"/>
              </a:rPr>
              <a:t> للبيانات (وهي إمكانية العثور على البيانات، وقابلية استخدامها، وقابلية تشغيلها بين الأنظمة، وإعادة استخدامها) إضافة إلى الخدمات والبيانات المفتوحة</a:t>
            </a:r>
          </a:p>
        </p:txBody>
      </p:sp>
      <p:sp>
        <p:nvSpPr>
          <p:cNvPr id="30" name="Rectangle 29">
            <a:extLst>
              <a:ext uri="{FF2B5EF4-FFF2-40B4-BE49-F238E27FC236}">
                <a16:creationId xmlns:a16="http://schemas.microsoft.com/office/drawing/2014/main" id="{419ADDA9-5348-4F98-B5E2-07FE1DC66826}"/>
              </a:ext>
            </a:extLst>
          </p:cNvPr>
          <p:cNvSpPr/>
          <p:nvPr/>
        </p:nvSpPr>
        <p:spPr>
          <a:xfrm flipH="1">
            <a:off x="9293860" y="2417961"/>
            <a:ext cx="2250440" cy="18288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1"/>
            <a:r>
              <a:rPr lang="ar-SA" sz="1400"/>
              <a:t>نظم المعلومات المكانية </a:t>
            </a:r>
            <a:br>
              <a:rPr lang="ar-EG" sz="1400"/>
            </a:br>
            <a:r>
              <a:rPr lang="ar-SA" sz="1400"/>
              <a:t>وعلم المعلومات الحضرية</a:t>
            </a:r>
          </a:p>
        </p:txBody>
      </p:sp>
      <p:pic>
        <p:nvPicPr>
          <p:cNvPr id="31" name="Picture 2" descr="AURIN. Australian Urban Research Infrastructure Network">
            <a:extLst>
              <a:ext uri="{FF2B5EF4-FFF2-40B4-BE49-F238E27FC236}">
                <a16:creationId xmlns:a16="http://schemas.microsoft.com/office/drawing/2014/main" id="{501DC758-30A3-43EC-9A7C-0696C72557B2}"/>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54922" y="284469"/>
            <a:ext cx="1294243" cy="543582"/>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Rounded Corners 35">
            <a:extLst>
              <a:ext uri="{FF2B5EF4-FFF2-40B4-BE49-F238E27FC236}">
                <a16:creationId xmlns:a16="http://schemas.microsoft.com/office/drawing/2014/main" id="{E7DF85C8-73FB-48AD-8737-546A03141A6B}"/>
              </a:ext>
            </a:extLst>
          </p:cNvPr>
          <p:cNvSpPr/>
          <p:nvPr/>
        </p:nvSpPr>
        <p:spPr>
          <a:xfrm>
            <a:off x="62752" y="69564"/>
            <a:ext cx="1678584" cy="228609"/>
          </a:xfrm>
          <a:prstGeom prst="roundRect">
            <a:avLst>
              <a:gd name="adj" fmla="val 14234"/>
            </a:avLst>
          </a:prstGeom>
          <a:solidFill>
            <a:srgbClr val="0C72B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900">
                <a:solidFill>
                  <a:prstClr val="white"/>
                </a:solidFill>
                <a:latin typeface="DIN Next LT Arabic"/>
              </a:rPr>
              <a:t>3- التعامل مع البيانات وقابلية التوسع</a:t>
            </a:r>
          </a:p>
        </p:txBody>
      </p:sp>
      <p:sp>
        <p:nvSpPr>
          <p:cNvPr id="24" name="TextBox 23">
            <a:extLst>
              <a:ext uri="{FF2B5EF4-FFF2-40B4-BE49-F238E27FC236}">
                <a16:creationId xmlns:a16="http://schemas.microsoft.com/office/drawing/2014/main" id="{83BAD807-09DA-4A84-9F17-27A0C1F6C7AD}"/>
              </a:ext>
            </a:extLst>
          </p:cNvPr>
          <p:cNvSpPr txBox="1"/>
          <p:nvPr/>
        </p:nvSpPr>
        <p:spPr>
          <a:xfrm>
            <a:off x="9903127" y="2046844"/>
            <a:ext cx="1065446" cy="248338"/>
          </a:xfrm>
          <a:prstGeom prst="rect">
            <a:avLst/>
          </a:prstGeom>
          <a:noFill/>
        </p:spPr>
        <p:txBody>
          <a:bodyPr wrap="square" lIns="0" tIns="0" rIns="0" bIns="0" rtlCol="0" anchor="b">
            <a:spAutoFit/>
          </a:bodyPr>
          <a:lstStyle/>
          <a:p>
            <a:pPr algn="ctr" rtl="1">
              <a:lnSpc>
                <a:spcPct val="110000"/>
              </a:lnSpc>
            </a:pPr>
            <a:r>
              <a:rPr lang="ar-SA" sz="1600">
                <a:latin typeface="+mj-lt"/>
                <a:cs typeface="DIN Next LT Arabic" panose="020B0503020203050203" pitchFamily="34" charset="-78"/>
              </a:rPr>
              <a:t>الإجراءات</a:t>
            </a:r>
          </a:p>
        </p:txBody>
      </p:sp>
      <p:cxnSp>
        <p:nvCxnSpPr>
          <p:cNvPr id="25" name="Straight Connector 24">
            <a:extLst>
              <a:ext uri="{FF2B5EF4-FFF2-40B4-BE49-F238E27FC236}">
                <a16:creationId xmlns:a16="http://schemas.microsoft.com/office/drawing/2014/main" id="{F8FB0FB4-12CA-4FA8-A129-745853641F06}"/>
              </a:ext>
            </a:extLst>
          </p:cNvPr>
          <p:cNvCxnSpPr>
            <a:cxnSpLocks/>
          </p:cNvCxnSpPr>
          <p:nvPr/>
        </p:nvCxnSpPr>
        <p:spPr>
          <a:xfrm>
            <a:off x="9306598" y="2336276"/>
            <a:ext cx="225850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7FF1E9F-7A9F-4EA5-BB37-AC7FDE2963AD}"/>
              </a:ext>
            </a:extLst>
          </p:cNvPr>
          <p:cNvSpPr txBox="1"/>
          <p:nvPr/>
        </p:nvSpPr>
        <p:spPr>
          <a:xfrm>
            <a:off x="4285837" y="2046844"/>
            <a:ext cx="1025922" cy="248338"/>
          </a:xfrm>
          <a:prstGeom prst="rect">
            <a:avLst/>
          </a:prstGeom>
          <a:noFill/>
        </p:spPr>
        <p:txBody>
          <a:bodyPr wrap="none" lIns="0" tIns="0" rIns="0" bIns="0" rtlCol="0" anchor="b">
            <a:spAutoFit/>
          </a:bodyPr>
          <a:lstStyle/>
          <a:p>
            <a:pPr algn="ctr" rtl="1">
              <a:lnSpc>
                <a:spcPct val="110000"/>
              </a:lnSpc>
            </a:pPr>
            <a:r>
              <a:rPr lang="ar-SA" sz="1600">
                <a:latin typeface="+mj-lt"/>
                <a:cs typeface="DIN Next LT Arabic" panose="020B0503020203050203" pitchFamily="34" charset="-78"/>
              </a:rPr>
              <a:t>الوصف</a:t>
            </a:r>
          </a:p>
        </p:txBody>
      </p:sp>
      <p:cxnSp>
        <p:nvCxnSpPr>
          <p:cNvPr id="32" name="Straight Connector 31">
            <a:extLst>
              <a:ext uri="{FF2B5EF4-FFF2-40B4-BE49-F238E27FC236}">
                <a16:creationId xmlns:a16="http://schemas.microsoft.com/office/drawing/2014/main" id="{B6FF87B3-61B8-48EC-906A-3F6A627AC326}"/>
              </a:ext>
            </a:extLst>
          </p:cNvPr>
          <p:cNvCxnSpPr>
            <a:cxnSpLocks/>
          </p:cNvCxnSpPr>
          <p:nvPr/>
        </p:nvCxnSpPr>
        <p:spPr>
          <a:xfrm>
            <a:off x="604559" y="2336276"/>
            <a:ext cx="86106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7" name="Picture 36">
            <a:extLst>
              <a:ext uri="{FF2B5EF4-FFF2-40B4-BE49-F238E27FC236}">
                <a16:creationId xmlns:a16="http://schemas.microsoft.com/office/drawing/2014/main" id="{54D1B306-BFF7-4D32-B394-89A90FA7710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886353" y="186849"/>
            <a:ext cx="623160" cy="335323"/>
          </a:xfrm>
          <a:prstGeom prst="rect">
            <a:avLst/>
          </a:prstGeom>
          <a:effectLst>
            <a:outerShdw blurRad="127000" sx="96000" sy="96000" algn="ctr" rotWithShape="0">
              <a:prstClr val="black">
                <a:alpha val="40000"/>
              </a:prstClr>
            </a:outerShdw>
          </a:effectLst>
        </p:spPr>
      </p:pic>
    </p:spTree>
    <p:extLst>
      <p:ext uri="{BB962C8B-B14F-4D97-AF65-F5344CB8AC3E}">
        <p14:creationId xmlns:p14="http://schemas.microsoft.com/office/powerpoint/2010/main" val="4042547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zExgmoXR12tr3ffO9zJ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i33oqydRKewaJw..NFp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doTVBy_T.mCzKEalofX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pXfVHtsKiih6_KSfFsL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lgTQDLFSC.HYnJHFxyy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Cq6ElnoT.UcK1reLu_1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ftffFbrSHqKl8j12Ylg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CB22SISJSIyP8__2DA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ElmColor">
      <a:dk1>
        <a:srgbClr val="282560"/>
      </a:dk1>
      <a:lt1>
        <a:sysClr val="window" lastClr="FFFFFF"/>
      </a:lt1>
      <a:dk2>
        <a:srgbClr val="282560"/>
      </a:dk2>
      <a:lt2>
        <a:srgbClr val="FFFFFF"/>
      </a:lt2>
      <a:accent1>
        <a:srgbClr val="282560"/>
      </a:accent1>
      <a:accent2>
        <a:srgbClr val="90298D"/>
      </a:accent2>
      <a:accent3>
        <a:srgbClr val="652F8F"/>
      </a:accent3>
      <a:accent4>
        <a:srgbClr val="0C72BA"/>
      </a:accent4>
      <a:accent5>
        <a:srgbClr val="4AC7F4"/>
      </a:accent5>
      <a:accent6>
        <a:srgbClr val="808184"/>
      </a:accent6>
      <a:hlink>
        <a:srgbClr val="0000FF"/>
      </a:hlink>
      <a:folHlink>
        <a:srgbClr val="90298D"/>
      </a:folHlink>
    </a:clrScheme>
    <a:fontScheme name="Custom 1">
      <a:majorFont>
        <a:latin typeface="DIN Next LT Arabic Medium"/>
        <a:ea typeface=""/>
        <a:cs typeface="DIN Next LT Arabic Medium"/>
      </a:majorFont>
      <a:minorFont>
        <a:latin typeface="DIN Next LT Arabic"/>
        <a:ea typeface=""/>
        <a:cs typeface="DIN Next LT Arabic"/>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40a7153-58f7-4636-8fab-58e42491a377">
      <UserInfo>
        <DisplayName>Mohd Sadique</DisplayName>
        <AccountId>45</AccountId>
        <AccountType/>
      </UserInfo>
      <UserInfo>
        <DisplayName>Nusaibah AlKooheji</DisplayName>
        <AccountId>9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2C989FD7C8004A91ED4F5A82CEC033" ma:contentTypeVersion="13" ma:contentTypeDescription="Create a new document." ma:contentTypeScope="" ma:versionID="36df45a2f96acf61f3bef72d4cf4da27">
  <xsd:schema xmlns:xsd="http://www.w3.org/2001/XMLSchema" xmlns:xs="http://www.w3.org/2001/XMLSchema" xmlns:p="http://schemas.microsoft.com/office/2006/metadata/properties" xmlns:ns2="f40a7153-58f7-4636-8fab-58e42491a377" xmlns:ns3="ca74827f-6ed2-41b1-8392-e4b2027833a2" targetNamespace="http://schemas.microsoft.com/office/2006/metadata/properties" ma:root="true" ma:fieldsID="e80de4f041bfcbf6059a32a59d19c6d7" ns2:_="" ns3:_="">
    <xsd:import namespace="f40a7153-58f7-4636-8fab-58e42491a377"/>
    <xsd:import namespace="ca74827f-6ed2-41b1-8392-e4b2027833a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0a7153-58f7-4636-8fab-58e42491a37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a74827f-6ed2-41b1-8392-e4b2027833a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FE0775-B0E3-49E6-AF31-76E2732ED190}">
  <ds:schemaRefs>
    <ds:schemaRef ds:uri="http://schemas.microsoft.com/sharepoint/v3/contenttype/forms"/>
  </ds:schemaRefs>
</ds:datastoreItem>
</file>

<file path=customXml/itemProps2.xml><?xml version="1.0" encoding="utf-8"?>
<ds:datastoreItem xmlns:ds="http://schemas.openxmlformats.org/officeDocument/2006/customXml" ds:itemID="{97D0AD74-3343-46FC-98D9-DA5688EA34B2}">
  <ds:schemaRefs>
    <ds:schemaRef ds:uri="f40a7153-58f7-4636-8fab-58e42491a377"/>
    <ds:schemaRef ds:uri="http://schemas.microsoft.com/office/2006/documentManagement/types"/>
    <ds:schemaRef ds:uri="http://purl.org/dc/dcmitype/"/>
    <ds:schemaRef ds:uri="http://schemas.microsoft.com/office/infopath/2007/PartnerControls"/>
    <ds:schemaRef ds:uri="http://www.w3.org/XML/1998/namespace"/>
    <ds:schemaRef ds:uri="http://purl.org/dc/elements/1.1/"/>
    <ds:schemaRef ds:uri="http://schemas.microsoft.com/office/2006/metadata/properties"/>
    <ds:schemaRef ds:uri="http://schemas.openxmlformats.org/package/2006/metadata/core-properties"/>
    <ds:schemaRef ds:uri="ca74827f-6ed2-41b1-8392-e4b2027833a2"/>
    <ds:schemaRef ds:uri="http://purl.org/dc/terms/"/>
  </ds:schemaRefs>
</ds:datastoreItem>
</file>

<file path=customXml/itemProps3.xml><?xml version="1.0" encoding="utf-8"?>
<ds:datastoreItem xmlns:ds="http://schemas.openxmlformats.org/officeDocument/2006/customXml" ds:itemID="{C4E42A39-AE49-4385-8F51-1E76C9373503}">
  <ds:schemaRefs>
    <ds:schemaRef ds:uri="ca74827f-6ed2-41b1-8392-e4b2027833a2"/>
    <ds:schemaRef ds:uri="f40a7153-58f7-4636-8fab-58e42491a3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80</TotalTime>
  <Words>6583</Words>
  <Application>Microsoft Macintosh PowerPoint</Application>
  <PresentationFormat>Widescreen</PresentationFormat>
  <Paragraphs>508</Paragraphs>
  <Slides>22</Slides>
  <Notes>2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3" baseType="lpstr">
      <vt:lpstr>Arial</vt:lpstr>
      <vt:lpstr>Calibri</vt:lpstr>
      <vt:lpstr>Century Gothic</vt:lpstr>
      <vt:lpstr>DIN Next LT Arabic</vt:lpstr>
      <vt:lpstr>DIN Next LT Arabic (Body)</vt:lpstr>
      <vt:lpstr>DIN Next LT Arabic Medium</vt:lpstr>
      <vt:lpstr>Effra</vt:lpstr>
      <vt:lpstr>Helvetica</vt:lpstr>
      <vt:lpstr>Univers Next Arabic</vt:lpstr>
      <vt:lpstr>1_Office Theme</vt:lpstr>
      <vt:lpstr>think-cell Slide</vt:lpstr>
      <vt:lpstr>PowerPoint Presentation</vt:lpstr>
      <vt:lpstr>الشبكة الأسترالية للبنية التحتية للأبحاث الحضرية – نظرة عامة</vt:lpstr>
      <vt:lpstr>البنية التقنية للشبكة</vt:lpstr>
      <vt:lpstr>جمع البيانات ومعالجتها (1/ 3)</vt:lpstr>
      <vt:lpstr>جمع البيانات ومعالجتها (2/ 3)</vt:lpstr>
      <vt:lpstr>جمع البيانات ومعالجتها (3/ 3)</vt:lpstr>
      <vt:lpstr>جمع البيانات ومعالجتها - تنفيذ الخدمات</vt:lpstr>
      <vt:lpstr>قابلية التوسع وحالات الاستخدام الجديدة (1/ 3)</vt:lpstr>
      <vt:lpstr>قابلية التوسع وحالات الاستخدام الجديدة (2/ 3)</vt:lpstr>
      <vt:lpstr>قابلية التوسع وحالات الاستخدام الجديدة (3/ 3)</vt:lpstr>
      <vt:lpstr>بناء مؤشرات أداء رئيسية جديدة للتحليلات</vt:lpstr>
      <vt:lpstr>التعامل مع كميات كبيرة من البيانات (1/ 3)</vt:lpstr>
      <vt:lpstr>التعامل مع كميات كبيرة من البيانات (2/ 3)</vt:lpstr>
      <vt:lpstr>التعامل مع كميات كبيرة من البيانات (3/ 3)</vt:lpstr>
      <vt:lpstr>أجهزة العمل لدى «الشبكة الأسترالية للبنية التحتية  للأبحاث الحضرية» (2019)</vt:lpstr>
      <vt:lpstr>تجربة المستخدم</vt:lpstr>
      <vt:lpstr>لقطات صورية للمنصة (1/ 4)</vt:lpstr>
      <vt:lpstr>لقطات صورية للمنصة (2/ 4)</vt:lpstr>
      <vt:lpstr>لقطات صورية للمنصة (3/ 4)</vt:lpstr>
      <vt:lpstr>لقطات صورية للمنصة (4/ 4)</vt:lpstr>
      <vt:lpstr>الشراكات</vt:lpstr>
      <vt:lpstr>الدروس المستفادة</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amp; Analysis Department Benchmarking</dc:title>
  <dc:creator>Mohammed Saeed Mashhour</dc:creator>
  <cp:lastModifiedBy>Microsoft Office User</cp:lastModifiedBy>
  <cp:revision>20</cp:revision>
  <dcterms:created xsi:type="dcterms:W3CDTF">2021-08-22T12:00:50Z</dcterms:created>
  <dcterms:modified xsi:type="dcterms:W3CDTF">2022-03-14T10:0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2C989FD7C8004A91ED4F5A82CEC033</vt:lpwstr>
  </property>
</Properties>
</file>